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m4a" ContentType="audio/mp4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62" r:id="rId1"/>
  </p:sldMasterIdLst>
  <p:notesMasterIdLst>
    <p:notesMasterId r:id="rId18"/>
  </p:notesMasterIdLst>
  <p:handoutMasterIdLst>
    <p:handoutMasterId r:id="rId19"/>
  </p:handoutMasterIdLst>
  <p:sldIdLst>
    <p:sldId id="712" r:id="rId2"/>
    <p:sldId id="734" r:id="rId3"/>
    <p:sldId id="1225" r:id="rId4"/>
    <p:sldId id="1229" r:id="rId5"/>
    <p:sldId id="853" r:id="rId6"/>
    <p:sldId id="834" r:id="rId7"/>
    <p:sldId id="819" r:id="rId8"/>
    <p:sldId id="854" r:id="rId9"/>
    <p:sldId id="855" r:id="rId10"/>
    <p:sldId id="733" r:id="rId11"/>
    <p:sldId id="856" r:id="rId12"/>
    <p:sldId id="1231" r:id="rId13"/>
    <p:sldId id="442" r:id="rId14"/>
    <p:sldId id="361" r:id="rId15"/>
    <p:sldId id="1227" r:id="rId16"/>
    <p:sldId id="1232" r:id="rId17"/>
  </p:sldIdLst>
  <p:sldSz cx="9144000" cy="6858000" type="screen4x3"/>
  <p:notesSz cx="7010400" cy="92964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2327">
          <p15:clr>
            <a:srgbClr val="A4A3A4"/>
          </p15:clr>
        </p15:guide>
        <p15:guide id="3" orient="horz" pos="3598">
          <p15:clr>
            <a:srgbClr val="A4A3A4"/>
          </p15:clr>
        </p15:guide>
        <p15:guide id="4" pos="2879">
          <p15:clr>
            <a:srgbClr val="A4A3A4"/>
          </p15:clr>
        </p15:guide>
        <p15:guide id="5" pos="154">
          <p15:clr>
            <a:srgbClr val="A4A3A4"/>
          </p15:clr>
        </p15:guide>
        <p15:guide id="6" pos="5618">
          <p15:clr>
            <a:srgbClr val="A4A3A4"/>
          </p15:clr>
        </p15:guide>
        <p15:guide id="7" pos="2965">
          <p15:clr>
            <a:srgbClr val="A4A3A4"/>
          </p15:clr>
        </p15:guide>
        <p15:guide id="8" pos="27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7700" autoAdjust="0"/>
    <p:restoredTop sz="93475" autoAdjust="0"/>
  </p:normalViewPr>
  <p:slideViewPr>
    <p:cSldViewPr snapToGrid="0" showGuides="1">
      <p:cViewPr varScale="1">
        <p:scale>
          <a:sx n="106" d="100"/>
          <a:sy n="106" d="100"/>
        </p:scale>
        <p:origin x="2256" y="184"/>
      </p:cViewPr>
      <p:guideLst>
        <p:guide orient="horz" pos="2160"/>
        <p:guide orient="horz" pos="2327"/>
        <p:guide orient="horz" pos="3598"/>
        <p:guide pos="2879"/>
        <p:guide pos="154"/>
        <p:guide pos="5618"/>
        <p:guide pos="2965"/>
        <p:guide pos="27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65" d="100"/>
        <a:sy n="165" d="100"/>
      </p:scale>
      <p:origin x="0" y="3984"/>
    </p:cViewPr>
  </p:sorterViewPr>
  <p:notesViewPr>
    <p:cSldViewPr snapToGrid="0" showGuides="1">
      <p:cViewPr>
        <p:scale>
          <a:sx n="115" d="100"/>
          <a:sy n="115" d="100"/>
        </p:scale>
        <p:origin x="3248" y="144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38475" cy="46498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9" y="1"/>
            <a:ext cx="3038475" cy="46498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C490AD-58BD-492E-AF50-53CAABBA7C13}" type="datetimeFigureOut">
              <a:rPr lang="en-US" smtClean="0"/>
              <a:t>4/25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823"/>
            <a:ext cx="3038475" cy="46498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9" y="8829823"/>
            <a:ext cx="3038475" cy="46498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042BCA-91F7-435F-BA0C-3F09174B0A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1944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r">
              <a:defRPr sz="1200"/>
            </a:lvl1pPr>
          </a:lstStyle>
          <a:p>
            <a:fld id="{937D5FDD-D47C-4EA4-BF47-E47004632DD9}" type="datetimeFigureOut">
              <a:rPr lang="en-US" smtClean="0"/>
              <a:t>4/25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8500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2" tIns="46586" rIns="93172" bIns="4658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3172" tIns="46586" rIns="93172" bIns="4658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r">
              <a:defRPr sz="1200"/>
            </a:lvl1pPr>
          </a:lstStyle>
          <a:p>
            <a:fld id="{85A746EE-92F5-42E0-8EB1-DC967E78E0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51281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600" dirty="0"/>
              <a:t>Hello – I am Don Roberts, the CEO of </a:t>
            </a:r>
            <a:r>
              <a:rPr lang="en-GB" sz="1600" dirty="0" err="1"/>
              <a:t>Nawitka</a:t>
            </a:r>
            <a:r>
              <a:rPr lang="en-GB" sz="1600" dirty="0"/>
              <a:t> Capital Advisors</a:t>
            </a:r>
          </a:p>
          <a:p>
            <a:endParaRPr lang="en-GB" sz="1600" dirty="0"/>
          </a:p>
          <a:p>
            <a:r>
              <a:rPr lang="en-GB" sz="1600" dirty="0"/>
              <a:t>This presentation focuses on key factors affecting the financing of the bio-econom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3FE01D-C5D9-4A23-B4C0-0332D178534B}" type="slidenum">
              <a:rPr lang="en-GB" smtClean="0"/>
              <a:t>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89193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ea typeface="Verdana" panose="020B0604030504040204" pitchFamily="34" charset="0"/>
                <a:cs typeface="Verdana" panose="020B0604030504040204" pitchFamily="34" charset="0"/>
              </a:rPr>
              <a:t>Interest in the bio-economy is increasing because of the rising need to decarbonize the global econom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A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sz="1600" dirty="0"/>
              <a:t>In April 2021, the Glasgow Financial Alliance for Net Zero pledged themselves to the mission of reaching zero emissions by 2050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CA" sz="1600" dirty="0"/>
              <a:t>It represents 160 financial firms with $70 trillion of ass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A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sz="1600" dirty="0"/>
              <a:t>The following leading non-financial firms have also committed to net-zero emissions, all within specific timelines: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A746EE-92F5-42E0-8EB1-DC967E78E03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94221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6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CA" sz="1600" dirty="0"/>
              <a:t>3. DOES THE BIO-ECONOMY OFFER UNIQUE INVESTMENT OPPORTUNITES?</a:t>
            </a:r>
          </a:p>
          <a:p>
            <a:endParaRPr lang="en-US" sz="16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en-US" sz="1600" dirty="0">
                <a:ea typeface="Verdana" panose="020B0604030504040204" pitchFamily="34" charset="0"/>
                <a:cs typeface="Verdana" panose="020B0604030504040204" pitchFamily="34" charset="0"/>
              </a:rPr>
              <a:t>Two pathways for investors to follow: </a:t>
            </a:r>
          </a:p>
          <a:p>
            <a:pPr>
              <a:lnSpc>
                <a:spcPct val="110000"/>
              </a:lnSpc>
              <a:spcAft>
                <a:spcPts val="600"/>
              </a:spcAft>
            </a:pPr>
            <a:endParaRPr lang="en-US" sz="16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ea typeface="Verdana" panose="020B0604030504040204" pitchFamily="34" charset="0"/>
                <a:cs typeface="Verdana" panose="020B0604030504040204" pitchFamily="34" charset="0"/>
              </a:rPr>
              <a:t>The transition to a circular bio-economy, with the substitution of low carbon bio-based products for high carbon intensity products; and,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ea typeface="Verdana" panose="020B0604030504040204" pitchFamily="34" charset="0"/>
                <a:cs typeface="Verdana" panose="020B0604030504040204" pitchFamily="34" charset="0"/>
              </a:rPr>
              <a:t>The role of forests and land use in reducing emissions and increasing ‘removals’ of CO2 from the atmosphere – natural climate solution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A746EE-92F5-42E0-8EB1-DC967E78E03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9151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To understand how some corporations are seeing the opportunities, consider Shell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Over the next 30 years Shell expects to radically transform its product mix – shifting to lower carbon produc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Also increased emphasis on capturing &amp; storing carbon, with a  special focus on Nature Based Solutions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600" dirty="0"/>
              <a:t>CEO quote in Feb: “I can imagine us working with nature to lock away maybe 300 million </a:t>
            </a:r>
            <a:r>
              <a:rPr lang="en-US" sz="1600" dirty="0" err="1"/>
              <a:t>tonnes</a:t>
            </a:r>
            <a:r>
              <a:rPr lang="en-US" sz="1600" dirty="0"/>
              <a:t> in forests, in wetlands and soils”</a:t>
            </a:r>
          </a:p>
          <a:p>
            <a:endParaRPr lang="en-CA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sz="1600" dirty="0"/>
              <a:t>Companies like Shell are looking to pursue both the pathways offered by the bio-economy – and at scale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A746EE-92F5-42E0-8EB1-DC967E78E03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2347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This slide focuses on the first general pathwa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The Bio-economy offers many opportunities to reduce the carbon intensity of products and contribute to a circular economy</a:t>
            </a:r>
          </a:p>
          <a:p>
            <a:endParaRPr lang="en-US" sz="1600" dirty="0"/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1600" dirty="0"/>
              <a:t>Entails: 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r>
              <a:rPr lang="en-US" sz="1600" dirty="0"/>
              <a:t>using many different sources of biomass –~ 25 B </a:t>
            </a:r>
            <a:r>
              <a:rPr lang="en-US" sz="1600" dirty="0" err="1"/>
              <a:t>tonnes</a:t>
            </a:r>
            <a:r>
              <a:rPr lang="en-US" sz="1600" dirty="0"/>
              <a:t>/year from agriculture/forestry/aquatic sectors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r>
              <a:rPr lang="en-US" sz="1600" dirty="0"/>
              <a:t>Producing wide range of products for the food/building/energy sectors</a:t>
            </a:r>
          </a:p>
          <a:p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Note that to make this transition to a circular economy work financially, we will need a meaningful price on carb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A746EE-92F5-42E0-8EB1-DC967E78E033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5980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ea typeface="Verdana" panose="020B0604030504040204" pitchFamily="34" charset="0"/>
                <a:cs typeface="Verdana" panose="020B0604030504040204" pitchFamily="34" charset="0"/>
              </a:rPr>
              <a:t>Turning to the second general pathwa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i="1" dirty="0">
                <a:ea typeface="Verdana" panose="020B0604030504040204" pitchFamily="34" charset="0"/>
                <a:cs typeface="Verdana" panose="020B0604030504040204" pitchFamily="34" charset="0"/>
              </a:rPr>
              <a:t>Sustainable Forestry and Agriculture, conservation and restoration are now seen as central to climate change mitig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i="1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ea typeface="Verdana" panose="020B0604030504040204" pitchFamily="34" charset="0"/>
                <a:cs typeface="Verdana" panose="020B0604030504040204" pitchFamily="34" charset="0"/>
              </a:rPr>
              <a:t>Potential  reduction of ~10 B </a:t>
            </a:r>
            <a:r>
              <a:rPr lang="en-US" sz="1600" dirty="0" err="1">
                <a:ea typeface="Verdana" panose="020B0604030504040204" pitchFamily="34" charset="0"/>
                <a:cs typeface="Verdana" panose="020B0604030504040204" pitchFamily="34" charset="0"/>
              </a:rPr>
              <a:t>tonnes</a:t>
            </a:r>
            <a:r>
              <a:rPr lang="en-US" sz="1600" dirty="0">
                <a:ea typeface="Verdana" panose="020B0604030504040204" pitchFamily="34" charset="0"/>
                <a:cs typeface="Verdana" panose="020B0604030504040204" pitchFamily="34" charset="0"/>
              </a:rPr>
              <a:t> of CO2e/year through a combination of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600" dirty="0">
                <a:ea typeface="Verdana" panose="020B0604030504040204" pitchFamily="34" charset="0"/>
                <a:cs typeface="Verdana" panose="020B0604030504040204" pitchFamily="34" charset="0"/>
              </a:rPr>
              <a:t>Protecting intact land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600" dirty="0">
                <a:ea typeface="Verdana" panose="020B0604030504040204" pitchFamily="34" charset="0"/>
                <a:cs typeface="Verdana" panose="020B0604030504040204" pitchFamily="34" charset="0"/>
              </a:rPr>
              <a:t>Managing working land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600" dirty="0">
                <a:ea typeface="Verdana" panose="020B0604030504040204" pitchFamily="34" charset="0"/>
                <a:cs typeface="Verdana" panose="020B0604030504040204" pitchFamily="34" charset="0"/>
              </a:rPr>
              <a:t>Restoring natural ecosystem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A746EE-92F5-42E0-8EB1-DC967E78E033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20763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1040" y="4236496"/>
            <a:ext cx="5608320" cy="5058291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600" dirty="0"/>
              <a:t>What are the prospecting of implementing natural climate change solutions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CA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600" dirty="0"/>
              <a:t>Demand for these kinds of projects  is arguably much greater than the supply </a:t>
            </a:r>
          </a:p>
          <a:p>
            <a:endParaRPr lang="en-CA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600" dirty="0"/>
              <a:t>Few countries have developed the legal and regulatory frameworks needed to ensure fair and transparent transactions in carbon offsets trading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CA" sz="1600" dirty="0"/>
              <a:t>Furthermore, nature-based solutions likely to be concentrated in some of the </a:t>
            </a:r>
            <a:r>
              <a:rPr lang="en-CA" sz="1600" b="1" dirty="0"/>
              <a:t>poorest and most biodiverse regions </a:t>
            </a:r>
            <a:r>
              <a:rPr lang="en-CA" sz="1600" dirty="0"/>
              <a:t>of the world, and mostly on lands held by </a:t>
            </a:r>
            <a:r>
              <a:rPr lang="en-CA" sz="1600" b="1" dirty="0"/>
              <a:t>Indigenous Peoples and local communities</a:t>
            </a:r>
            <a:endParaRPr lang="en-CA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CA" sz="1600" dirty="0"/>
              <a:t>Failure to adequately recognize community rights to carbon poses a fundamental risk to the pursuit of nature-based solution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CA" sz="1600" b="1" dirty="0"/>
              <a:t>Biomass Supply Credit Rating  Standard </a:t>
            </a:r>
            <a:r>
              <a:rPr lang="en-CA" sz="1600" dirty="0"/>
              <a:t>discussed earlier has a Social Risk factor in its  Supply Chain Risk Category, but it arguably needs to be further refined to adequately reflect the above risks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A746EE-92F5-42E0-8EB1-DC967E78E033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9590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+mj-lt"/>
              <a:buAutoNum type="arabicPeriod"/>
            </a:pPr>
            <a:r>
              <a:rPr lang="en-CA" sz="1600" dirty="0"/>
              <a:t> </a:t>
            </a:r>
            <a:r>
              <a:rPr lang="en-CA" sz="1600" b="1" dirty="0"/>
              <a:t>Not clear </a:t>
            </a:r>
            <a:r>
              <a:rPr lang="en-CA" sz="1600" dirty="0"/>
              <a:t>whether the financial sector is paying too little or too much attention to opportunities in the bio-economy.</a:t>
            </a:r>
          </a:p>
          <a:p>
            <a:pPr>
              <a:buFont typeface="+mj-lt"/>
              <a:buAutoNum type="arabicPeriod"/>
            </a:pPr>
            <a:endParaRPr lang="en-CA" sz="1600" dirty="0"/>
          </a:p>
          <a:p>
            <a:pPr>
              <a:buFont typeface="+mj-lt"/>
              <a:buAutoNum type="arabicPeriod"/>
            </a:pPr>
            <a:r>
              <a:rPr lang="en-CA" sz="1600" b="1" dirty="0"/>
              <a:t> Clear</a:t>
            </a:r>
            <a:r>
              <a:rPr lang="en-CA" sz="1600" dirty="0"/>
              <a:t> that investment opportunities in the bio-economy are often quite </a:t>
            </a:r>
            <a:r>
              <a:rPr lang="en-CA" sz="1600" b="1" dirty="0"/>
              <a:t>complex to analyze</a:t>
            </a:r>
            <a:r>
              <a:rPr lang="en-CA" sz="1600" dirty="0"/>
              <a:t>, and this is a barrier to financing. One new tool to reduce the complexity is </a:t>
            </a:r>
            <a:r>
              <a:rPr lang="en-CA" sz="1600" b="1" dirty="0">
                <a:ea typeface="Verdana" panose="020B0604030504040204" pitchFamily="34" charset="0"/>
                <a:cs typeface="Verdana" panose="020B0604030504040204" pitchFamily="34" charset="0"/>
              </a:rPr>
              <a:t>Biomass Supply Credit Rating (BSCR) Standards.</a:t>
            </a:r>
            <a:endParaRPr lang="en-CA" sz="1600" b="1" dirty="0"/>
          </a:p>
          <a:p>
            <a:pPr>
              <a:buFont typeface="+mj-lt"/>
              <a:buAutoNum type="arabicPeriod"/>
            </a:pPr>
            <a:endParaRPr lang="en-CA" sz="1600" dirty="0"/>
          </a:p>
          <a:p>
            <a:pPr>
              <a:buFont typeface="+mj-lt"/>
              <a:buAutoNum type="arabicPeriod"/>
            </a:pPr>
            <a:r>
              <a:rPr lang="en-CA" sz="1600" dirty="0"/>
              <a:t>The bio-economy </a:t>
            </a:r>
            <a:r>
              <a:rPr lang="en-CA" sz="1600" b="1" dirty="0"/>
              <a:t>does offer unique investment opportunities</a:t>
            </a:r>
            <a:r>
              <a:rPr lang="en-CA" sz="1600" dirty="0"/>
              <a:t>.  </a:t>
            </a:r>
            <a:r>
              <a:rPr lang="en-CA" sz="1600" b="1" dirty="0"/>
              <a:t>Nature-based climate solutions </a:t>
            </a:r>
            <a:r>
              <a:rPr lang="en-CA" sz="1600" dirty="0"/>
              <a:t>are one set of opportunities, and they are generating excitement among investors.  However, the </a:t>
            </a:r>
            <a:r>
              <a:rPr lang="en-CA" sz="1600" b="1" dirty="0"/>
              <a:t>demand for such projects is likely to significantly exceed the suppl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A746EE-92F5-42E0-8EB1-DC967E78E033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03347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600" dirty="0"/>
              <a:t>Specifically, I focus on answering 3 questions.</a:t>
            </a:r>
          </a:p>
          <a:p>
            <a:endParaRPr lang="en-US" sz="1600" dirty="0"/>
          </a:p>
          <a:p>
            <a:r>
              <a:rPr lang="en-US" sz="1600" dirty="0"/>
              <a:t>With respect to the bio-economy:</a:t>
            </a:r>
          </a:p>
          <a:p>
            <a:endParaRPr lang="en-US" sz="1600" dirty="0"/>
          </a:p>
          <a:p>
            <a:pPr>
              <a:buFont typeface="+mj-lt"/>
              <a:buAutoNum type="arabicPeriod"/>
            </a:pPr>
            <a:r>
              <a:rPr lang="en-CA" sz="1600" dirty="0"/>
              <a:t>Is the financial sector paying sufficient attention? </a:t>
            </a:r>
          </a:p>
          <a:p>
            <a:pPr>
              <a:buFont typeface="+mj-lt"/>
              <a:buAutoNum type="arabicPeriod"/>
            </a:pPr>
            <a:endParaRPr lang="en-CA" sz="1600" dirty="0"/>
          </a:p>
          <a:p>
            <a:pPr>
              <a:buFont typeface="+mj-lt"/>
              <a:buAutoNum type="arabicPeriod"/>
            </a:pPr>
            <a:r>
              <a:rPr lang="en-CA" sz="1600" dirty="0"/>
              <a:t>How can we reduce its complexity for investors? </a:t>
            </a:r>
          </a:p>
          <a:p>
            <a:pPr>
              <a:buFont typeface="+mj-lt"/>
              <a:buAutoNum type="arabicPeriod"/>
            </a:pPr>
            <a:endParaRPr lang="en-CA" sz="1600" dirty="0"/>
          </a:p>
          <a:p>
            <a:pPr>
              <a:buFont typeface="+mj-lt"/>
              <a:buAutoNum type="arabicPeriod"/>
            </a:pPr>
            <a:r>
              <a:rPr lang="en-CA" sz="1600" dirty="0"/>
              <a:t>Does it offer unique investment opportunities? </a:t>
            </a:r>
          </a:p>
          <a:p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A746EE-92F5-42E0-8EB1-DC967E78E03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1730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Regarding the first question, - Does the Bio-economy get enough attention from the financial sector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The answer is – it depends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600" dirty="0"/>
              <a:t>In some cases it offers unique investment opportunities, and in others it does not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600" dirty="0"/>
              <a:t>For example, in the Electricity sector it does not.  The business case for biopower is often weaker than that of other sources of green electrons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600" dirty="0"/>
              <a:t>Biomass-based projects are also often more complex – challenge for financiers.</a:t>
            </a:r>
          </a:p>
          <a:p>
            <a:pPr lvl="1"/>
            <a:endParaRPr lang="en-US" sz="1600" dirty="0"/>
          </a:p>
          <a:p>
            <a:pPr lvl="1"/>
            <a:r>
              <a:rPr lang="en-US" sz="1600" dirty="0"/>
              <a:t>…..This lead to the next question – how can we reduce the complexity for investor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A746EE-92F5-42E0-8EB1-DC967E78E03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9566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25" y="698500"/>
            <a:ext cx="4486275" cy="3365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02920" y="4352436"/>
            <a:ext cx="5618480" cy="4189095"/>
          </a:xfrm>
        </p:spPr>
        <p:txBody>
          <a:bodyPr/>
          <a:lstStyle/>
          <a:p>
            <a:pPr marL="285750" lvl="1" indent="-285750" defTabSz="933172">
              <a:buFont typeface="Arial" panose="020B0604020202020204" pitchFamily="34" charset="0"/>
              <a:buChar char="•"/>
              <a:defRPr/>
            </a:pPr>
            <a:r>
              <a:rPr lang="en-CA" sz="1600" dirty="0"/>
              <a:t>Credit rating systems are well established for the overall economy.</a:t>
            </a:r>
          </a:p>
          <a:p>
            <a:pPr marL="742950" lvl="2" indent="-285750" defTabSz="933172">
              <a:buFont typeface="Arial" panose="020B0604020202020204" pitchFamily="34" charset="0"/>
              <a:buChar char="•"/>
              <a:defRPr/>
            </a:pPr>
            <a:r>
              <a:rPr lang="en-CA" sz="1600" dirty="0"/>
              <a:t>&gt;2.8 M ratings done annually</a:t>
            </a:r>
          </a:p>
          <a:p>
            <a:pPr marL="742950" lvl="2" indent="-285750" defTabSz="933172">
              <a:buFont typeface="Arial" panose="020B0604020202020204" pitchFamily="34" charset="0"/>
              <a:buChar char="•"/>
              <a:defRPr/>
            </a:pPr>
            <a:r>
              <a:rPr lang="en-CA" sz="1600" dirty="0"/>
              <a:t>Move over $9.5 T in capital.</a:t>
            </a:r>
          </a:p>
          <a:p>
            <a:pPr marL="742950" lvl="2" indent="-285750" defTabSz="933172">
              <a:buFont typeface="Arial" panose="020B0604020202020204" pitchFamily="34" charset="0"/>
              <a:buChar char="•"/>
              <a:defRPr/>
            </a:pPr>
            <a:endParaRPr lang="en-CA" sz="1600" dirty="0"/>
          </a:p>
          <a:p>
            <a:pPr marL="285750" lvl="1" indent="-285750" defTabSz="933172">
              <a:buFont typeface="Arial" panose="020B0604020202020204" pitchFamily="34" charset="0"/>
              <a:buChar char="•"/>
              <a:defRPr/>
            </a:pPr>
            <a:r>
              <a:rPr lang="en-CA" sz="1600" dirty="0"/>
              <a:t> So the question is: “How can we extend the proven benefits of CREDIT RATING to the ‘BIOMASS sector?”  Specifically, can we create Biomass Supply Credit Ratings?</a:t>
            </a:r>
          </a:p>
          <a:p>
            <a:pPr marL="0" lvl="1" defTabSz="933172">
              <a:defRPr/>
            </a:pPr>
            <a:endParaRPr lang="en-CA" sz="1600" dirty="0"/>
          </a:p>
          <a:p>
            <a:pPr marL="285750" lvl="1" indent="-285750" defTabSz="933172">
              <a:buFont typeface="Arial" panose="020B0604020202020204" pitchFamily="34" charset="0"/>
              <a:buChar char="•"/>
              <a:defRPr/>
            </a:pPr>
            <a:r>
              <a:rPr lang="en-CA" sz="1600" dirty="0"/>
              <a:t>If we can,, some of the potential  benefits of biomass standards are:</a:t>
            </a:r>
          </a:p>
          <a:p>
            <a:pPr marL="742950" lvl="2" indent="-285750" defTabSz="933172">
              <a:buFont typeface="Arial" panose="020B0604020202020204" pitchFamily="34" charset="0"/>
              <a:buChar char="•"/>
              <a:defRPr/>
            </a:pPr>
            <a:r>
              <a:rPr lang="en-CA" sz="1600" dirty="0"/>
              <a:t>reduced cost of funding, </a:t>
            </a:r>
          </a:p>
          <a:p>
            <a:pPr marL="742950" lvl="2" indent="-285750" defTabSz="933172">
              <a:buFont typeface="Arial" panose="020B0604020202020204" pitchFamily="34" charset="0"/>
              <a:buChar char="•"/>
              <a:defRPr/>
            </a:pPr>
            <a:r>
              <a:rPr lang="en-CA" sz="1600" dirty="0"/>
              <a:t>access to a larger pool of investors</a:t>
            </a:r>
          </a:p>
          <a:p>
            <a:pPr marL="742950" lvl="2" indent="-285750" defTabSz="933172">
              <a:buFont typeface="Arial" panose="020B0604020202020204" pitchFamily="34" charset="0"/>
              <a:buChar char="•"/>
              <a:defRPr/>
            </a:pPr>
            <a:r>
              <a:rPr lang="en-CA" sz="1600" dirty="0"/>
              <a:t>faster deployment of capital</a:t>
            </a: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3078D68-51EB-46EE-975E-9291E8A385D8}" type="slidenum">
              <a:rPr lang="en-US" altLang="en-US" smtClean="0"/>
              <a:pPr>
                <a:defRPr/>
              </a:pPr>
              <a:t>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0557632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33500" y="498475"/>
            <a:ext cx="4652963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76660" y="4206012"/>
            <a:ext cx="6477000" cy="4193947"/>
          </a:xfrm>
        </p:spPr>
        <p:txBody>
          <a:bodyPr/>
          <a:lstStyle/>
          <a:p>
            <a:r>
              <a:rPr lang="en-US" sz="1600" dirty="0"/>
              <a:t>So what do Standardized tools for biomass investment look like?</a:t>
            </a:r>
          </a:p>
          <a:p>
            <a:endParaRPr lang="en-US" sz="1600" dirty="0"/>
          </a:p>
          <a:p>
            <a:r>
              <a:rPr lang="en-US" sz="1600" dirty="0"/>
              <a:t>Gov’ts of Canada &amp; U.S.A. have financially supported the development of </a:t>
            </a:r>
            <a:r>
              <a:rPr lang="en-US" sz="1600" b="1" dirty="0"/>
              <a:t>Biomass Supply Credit Rating Standard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i="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&gt;$5M </a:t>
            </a:r>
            <a:r>
              <a:rPr lang="en-US" sz="1600" dirty="0"/>
              <a:t>in fun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i="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5 years of development 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b="0" i="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Led by </a:t>
            </a:r>
            <a:r>
              <a:rPr lang="en-US" sz="1600" b="0" i="0" kern="1200" dirty="0" err="1">
                <a:solidFill>
                  <a:schemeClr val="tx1"/>
                </a:solidFill>
                <a:effectLst/>
                <a:ea typeface="+mn-ea"/>
                <a:cs typeface="+mn-cs"/>
              </a:rPr>
              <a:t>Ecostrat</a:t>
            </a:r>
            <a:r>
              <a:rPr lang="en-US" sz="1600" b="0" i="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, </a:t>
            </a:r>
            <a:r>
              <a:rPr lang="en-US" sz="1600" b="0" i="0" kern="1200" dirty="0" err="1">
                <a:solidFill>
                  <a:schemeClr val="tx1"/>
                </a:solidFill>
                <a:effectLst/>
                <a:ea typeface="+mn-ea"/>
                <a:cs typeface="+mn-cs"/>
              </a:rPr>
              <a:t>Canmet</a:t>
            </a:r>
            <a:r>
              <a:rPr lang="en-US" sz="1600" b="0" i="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, Los Alamos &amp; Idaho National Lab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Involved a ~150 member industry stakeholder group,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A 14 person Advisory Group, of which I am a member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b="0" i="0" kern="120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D5D7EF-4310-4AF2-B0EF-A4ACD86C525E}" type="slidenum">
              <a:rPr lang="en-CA" smtClean="0"/>
              <a:t>4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8612247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28725" y="423863"/>
            <a:ext cx="4346575" cy="32607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61670" y="4176032"/>
            <a:ext cx="6477000" cy="4193947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600" dirty="0"/>
              <a:t>THE BSCR Standard is the most rigorous framework devised to date for assessing feedstock risk for investor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CA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600" dirty="0"/>
              <a:t>Involves 6 general risk categories, 28 risk factors &amp; 126 specific risk indicato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CA" sz="1600" dirty="0"/>
          </a:p>
          <a:p>
            <a:endParaRPr lang="en-CA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600" dirty="0"/>
              <a:t>Why is this needed</a:t>
            </a:r>
            <a:r>
              <a:rPr lang="en-CA" dirty="0"/>
              <a:t>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D5D7EF-4310-4AF2-B0EF-A4ACD86C525E}" type="slidenum">
              <a:rPr lang="en-CA" smtClean="0"/>
              <a:t>5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6777282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09700" y="284163"/>
            <a:ext cx="3543300" cy="26590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48944" y="3468297"/>
            <a:ext cx="6146803" cy="4836254"/>
          </a:xfrm>
        </p:spPr>
        <p:txBody>
          <a:bodyPr/>
          <a:lstStyle/>
          <a:p>
            <a:pPr marL="285750" indent="-285750" defTabSz="915772"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Reality is that biomass supply chains are complex and investors are often confused. </a:t>
            </a:r>
          </a:p>
          <a:p>
            <a:pPr defTabSz="915772">
              <a:defRPr/>
            </a:pPr>
            <a:endParaRPr lang="en-US" sz="1600" dirty="0"/>
          </a:p>
          <a:p>
            <a:pPr defTabSz="915772">
              <a:defRPr/>
            </a:pPr>
            <a:endParaRPr lang="en-US" sz="1600" b="1" dirty="0"/>
          </a:p>
          <a:p>
            <a:pPr marL="285750" indent="-285750" defTabSz="915772"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The BSCR (or Biomass) standards are a blueprint for the capital markets to understand:</a:t>
            </a:r>
          </a:p>
          <a:p>
            <a:pPr marL="742950" lvl="1" indent="-285750" defTabSz="915772"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what these risks are</a:t>
            </a:r>
          </a:p>
          <a:p>
            <a:pPr marL="742950" lvl="1" indent="-285750" defTabSz="915772"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how to mitigate them; and,</a:t>
            </a:r>
          </a:p>
          <a:p>
            <a:pPr marL="742950" lvl="1" indent="-285750" defTabSz="915772"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how to properly structure capital around them. </a:t>
            </a:r>
          </a:p>
          <a:p>
            <a:br>
              <a:rPr lang="en-US" sz="1400" dirty="0"/>
            </a:br>
            <a:endParaRPr lang="en-CA" sz="1400" dirty="0"/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D5D7EF-4310-4AF2-B0EF-A4ACD86C525E}" type="slidenum">
              <a:rPr lang="en-CA" smtClean="0"/>
              <a:t>6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1245587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7638" y="1163638"/>
            <a:ext cx="4187825" cy="31416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CA" sz="1600" kern="120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endParaRPr lang="en-CA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sz="16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Participants across the financial spectrum and beyond </a:t>
            </a:r>
            <a:r>
              <a:rPr lang="en-CA" sz="1600" dirty="0"/>
              <a:t>are starting to</a:t>
            </a:r>
            <a:r>
              <a:rPr lang="en-CA" sz="16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 applaud this innovation. </a:t>
            </a:r>
          </a:p>
          <a:p>
            <a:endParaRPr lang="en-CA" sz="1600" kern="120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sz="16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This tool could support a large and growing pool of capital that is looking to deploy across the </a:t>
            </a:r>
            <a:r>
              <a:rPr lang="en-CA" sz="1600" kern="1200" dirty="0" err="1">
                <a:solidFill>
                  <a:schemeClr val="tx1"/>
                </a:solidFill>
                <a:effectLst/>
                <a:ea typeface="+mn-ea"/>
                <a:cs typeface="+mn-cs"/>
              </a:rPr>
              <a:t>bioeconomy</a:t>
            </a:r>
            <a:r>
              <a:rPr lang="en-CA" sz="1600" dirty="0"/>
              <a:t>.</a:t>
            </a:r>
            <a:endParaRPr lang="en-CA" sz="1600" kern="120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endParaRPr lang="en-CA" sz="12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D5D7EF-4310-4AF2-B0EF-A4ACD86C525E}" type="slidenum">
              <a:rPr lang="en-CA" smtClean="0"/>
              <a:t>7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7537120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698500"/>
            <a:ext cx="4654550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600" dirty="0"/>
              <a:t>The Standards provide benefits to Capital Markets, Governments &amp; Project Developer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CA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3078D68-51EB-46EE-975E-9291E8A385D8}" type="slidenum">
              <a:rPr lang="en-US" altLang="en-US" smtClean="0"/>
              <a:pPr>
                <a:defRPr/>
              </a:pPr>
              <a:t>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52873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223838"/>
            <a:ext cx="3819525" cy="6410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06824" y="3069039"/>
            <a:ext cx="4581144" cy="369332"/>
          </a:xfrm>
        </p:spPr>
        <p:txBody>
          <a:bodyPr>
            <a:noAutofit/>
          </a:bodyPr>
          <a:lstStyle>
            <a:lvl1pPr algn="l">
              <a:defRPr sz="180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06824" y="3703320"/>
            <a:ext cx="4608576" cy="301752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06824" y="4331706"/>
            <a:ext cx="4581144" cy="274320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152144" y="2276856"/>
            <a:ext cx="2770632" cy="2616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1100" dirty="0">
                <a:solidFill>
                  <a:schemeClr val="accent2"/>
                </a:solidFill>
                <a:latin typeface="Verdana" pitchFamily="34" charset="0"/>
              </a:rPr>
              <a:t>PRESENTATION TO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031736" y="6455664"/>
            <a:ext cx="1984248" cy="2616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1100" dirty="0">
                <a:solidFill>
                  <a:schemeClr val="accent2"/>
                </a:solidFill>
                <a:latin typeface="Verdana" pitchFamily="34" charset="0"/>
              </a:rPr>
              <a:t>Confidential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223838"/>
            <a:ext cx="3819525" cy="6410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1152144" y="2276856"/>
            <a:ext cx="2770632" cy="2616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1100" dirty="0">
                <a:solidFill>
                  <a:schemeClr val="accent2"/>
                </a:solidFill>
                <a:latin typeface="Verdana" pitchFamily="34" charset="0"/>
              </a:rPr>
              <a:t>PRESENTATION TO 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7031736" y="6455664"/>
            <a:ext cx="1984248" cy="2616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1100" dirty="0">
                <a:solidFill>
                  <a:schemeClr val="accent2"/>
                </a:solidFill>
                <a:latin typeface="Verdana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9646068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ombstones_10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478024" y="344458"/>
            <a:ext cx="6437376" cy="30777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Slide Number Placeholder 5"/>
          <p:cNvSpPr txBox="1">
            <a:spLocks/>
          </p:cNvSpPr>
          <p:nvPr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228600" y="749808"/>
            <a:ext cx="8686800" cy="141577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None/>
              <a:defRPr sz="13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095375" y="6468919"/>
            <a:ext cx="7197725" cy="146194"/>
          </a:xfrm>
        </p:spPr>
        <p:txBody>
          <a:bodyPr lIns="38100" tIns="38100" rIns="38100" bIns="0" anchor="b" anchorCtr="0">
            <a:spAutoFit/>
          </a:bodyPr>
          <a:lstStyle>
            <a:lvl1pPr marL="0" indent="0">
              <a:buFont typeface="+mj-lt"/>
              <a:buNone/>
              <a:defRPr sz="700"/>
            </a:lvl1pPr>
          </a:lstStyle>
          <a:p>
            <a:pPr lvl="0"/>
            <a:r>
              <a:rPr lang="en-US" dirty="0"/>
              <a:t>Click to insert footno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25425" y="16002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1994090" y="16002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3762755" y="16002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5531420" y="1595819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228854" y="38354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1997519" y="38354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3766184" y="38354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5534849" y="3831019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6" hasCustomPrompt="1"/>
          </p:nvPr>
        </p:nvSpPr>
        <p:spPr>
          <a:xfrm>
            <a:off x="7300087" y="16002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7" hasCustomPrompt="1"/>
          </p:nvPr>
        </p:nvSpPr>
        <p:spPr>
          <a:xfrm>
            <a:off x="7303516" y="38354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Slide Number Placeholder 5"/>
          <p:cNvSpPr txBox="1">
            <a:spLocks/>
          </p:cNvSpPr>
          <p:nvPr userDrawn="1"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24598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ombstones_10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478024" y="344458"/>
            <a:ext cx="6437376" cy="30777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Slide Number Placeholder 5"/>
          <p:cNvSpPr txBox="1">
            <a:spLocks/>
          </p:cNvSpPr>
          <p:nvPr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228600" y="749808"/>
            <a:ext cx="8686800" cy="141577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None/>
              <a:defRPr sz="13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095375" y="6468919"/>
            <a:ext cx="7197725" cy="146194"/>
          </a:xfrm>
        </p:spPr>
        <p:txBody>
          <a:bodyPr lIns="38100" tIns="38100" rIns="38100" bIns="0" anchor="b" anchorCtr="0">
            <a:spAutoFit/>
          </a:bodyPr>
          <a:lstStyle>
            <a:lvl1pPr marL="0" indent="0">
              <a:buFont typeface="+mj-lt"/>
              <a:buNone/>
              <a:defRPr sz="700"/>
            </a:lvl1pPr>
          </a:lstStyle>
          <a:p>
            <a:pPr lvl="0"/>
            <a:r>
              <a:rPr lang="en-US" dirty="0"/>
              <a:t>Click to insert footno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25425" y="16002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1997869" y="16002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3770313" y="16002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5542757" y="16002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225425" y="38354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1997869" y="38354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3770313" y="38354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5542757" y="38354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6" hasCustomPrompt="1"/>
          </p:nvPr>
        </p:nvSpPr>
        <p:spPr>
          <a:xfrm>
            <a:off x="7315200" y="1595819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7" hasCustomPrompt="1"/>
          </p:nvPr>
        </p:nvSpPr>
        <p:spPr>
          <a:xfrm>
            <a:off x="7315200" y="3831019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Slide Number Placeholder 5"/>
          <p:cNvSpPr txBox="1">
            <a:spLocks/>
          </p:cNvSpPr>
          <p:nvPr userDrawn="1"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3899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&amp; Tombst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478024" y="344458"/>
            <a:ext cx="6437376" cy="30777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Slide Number Placeholder 5"/>
          <p:cNvSpPr txBox="1">
            <a:spLocks/>
          </p:cNvSpPr>
          <p:nvPr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228600" y="749808"/>
            <a:ext cx="8686800" cy="141577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None/>
              <a:defRPr sz="13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095375" y="6468919"/>
            <a:ext cx="7197725" cy="146194"/>
          </a:xfrm>
        </p:spPr>
        <p:txBody>
          <a:bodyPr lIns="38100" tIns="38100" rIns="38100" bIns="0" anchor="b" anchorCtr="0">
            <a:spAutoFit/>
          </a:bodyPr>
          <a:lstStyle>
            <a:lvl1pPr marL="0" indent="0">
              <a:buFont typeface="+mj-lt"/>
              <a:buNone/>
              <a:defRPr sz="700"/>
            </a:lvl1pPr>
          </a:lstStyle>
          <a:p>
            <a:pPr lvl="0"/>
            <a:r>
              <a:rPr lang="en-US" dirty="0"/>
              <a:t>Click to insert footnot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4744509" y="16002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004050" y="1595819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4747938" y="38354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7007479" y="3831019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2571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478024" y="344458"/>
            <a:ext cx="6437376" cy="30777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44475" y="3753193"/>
            <a:ext cx="8674100" cy="2186288"/>
          </a:xfrm>
        </p:spPr>
        <p:txBody>
          <a:bodyPr lIns="45720" rIns="45720" anchor="t" anchorCtr="0"/>
          <a:lstStyle>
            <a:lvl1pPr algn="l">
              <a:spcAft>
                <a:spcPts val="300"/>
              </a:spcAft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465170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478024" y="344458"/>
            <a:ext cx="6437376" cy="30777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228600" y="749808"/>
            <a:ext cx="8686800" cy="141577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None/>
              <a:defRPr sz="13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095375" y="6468919"/>
            <a:ext cx="7197725" cy="146194"/>
          </a:xfrm>
        </p:spPr>
        <p:txBody>
          <a:bodyPr lIns="38100" tIns="38100" rIns="38100" bIns="0" anchor="b" anchorCtr="0">
            <a:spAutoFit/>
          </a:bodyPr>
          <a:lstStyle>
            <a:lvl1pPr marL="0" indent="0">
              <a:buFont typeface="+mj-lt"/>
              <a:buNone/>
              <a:defRPr sz="700"/>
            </a:lvl1pPr>
          </a:lstStyle>
          <a:p>
            <a:pPr lvl="0"/>
            <a:r>
              <a:rPr lang="en-US" dirty="0"/>
              <a:t>Click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38204584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478024" y="344458"/>
            <a:ext cx="6437376" cy="30777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095375" y="6468919"/>
            <a:ext cx="7197725" cy="146194"/>
          </a:xfrm>
        </p:spPr>
        <p:txBody>
          <a:bodyPr lIns="38100" tIns="38100" rIns="38100" bIns="0" anchor="b" anchorCtr="0">
            <a:spAutoFit/>
          </a:bodyPr>
          <a:lstStyle>
            <a:lvl1pPr marL="0" indent="0">
              <a:buFont typeface="+mj-lt"/>
              <a:buNone/>
              <a:defRPr sz="700"/>
            </a:lvl1pPr>
          </a:lstStyle>
          <a:p>
            <a:pPr lvl="0"/>
            <a:r>
              <a:rPr lang="en-US" dirty="0"/>
              <a:t>Click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28475983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2679192"/>
            <a:ext cx="6400800" cy="1152144"/>
          </a:xfrm>
          <a:solidFill>
            <a:schemeClr val="accent2"/>
          </a:solidFill>
        </p:spPr>
        <p:txBody>
          <a:bodyPr anchor="ctr" anchorCtr="0">
            <a:noAutofit/>
          </a:bodyPr>
          <a:lstStyle>
            <a:lvl1pPr algn="ctr">
              <a:defRPr sz="14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7031736" y="6455664"/>
            <a:ext cx="1984248" cy="2616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1000" dirty="0">
                <a:solidFill>
                  <a:schemeClr val="accent2"/>
                </a:solidFill>
                <a:latin typeface="Verdana" pitchFamily="34" charset="0"/>
              </a:rPr>
              <a:t>Confidential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799551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478024" y="344458"/>
            <a:ext cx="6437376" cy="30777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Content Placeholder 7"/>
          <p:cNvSpPr>
            <a:spLocks noGrp="1"/>
          </p:cNvSpPr>
          <p:nvPr>
            <p:ph sz="quarter" idx="17"/>
          </p:nvPr>
        </p:nvSpPr>
        <p:spPr>
          <a:xfrm>
            <a:off x="228600" y="749808"/>
            <a:ext cx="4270248" cy="141577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None/>
              <a:defRPr sz="13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7"/>
          <p:cNvSpPr>
            <a:spLocks noGrp="1"/>
          </p:cNvSpPr>
          <p:nvPr>
            <p:ph sz="quarter" idx="18"/>
          </p:nvPr>
        </p:nvSpPr>
        <p:spPr>
          <a:xfrm>
            <a:off x="4645152" y="749808"/>
            <a:ext cx="4270248" cy="141577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None/>
              <a:defRPr sz="13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1095375" y="6468919"/>
            <a:ext cx="7197725" cy="146194"/>
          </a:xfrm>
        </p:spPr>
        <p:txBody>
          <a:bodyPr lIns="38100" tIns="38100" rIns="38100" bIns="0" anchor="b" anchorCtr="0">
            <a:spAutoFit/>
          </a:bodyPr>
          <a:lstStyle>
            <a:lvl1pPr marL="0" indent="0">
              <a:buFont typeface="+mj-lt"/>
              <a:buNone/>
              <a:defRPr sz="700"/>
            </a:lvl1pPr>
          </a:lstStyle>
          <a:p>
            <a:pPr lvl="0"/>
            <a:r>
              <a:rPr lang="en-US" dirty="0"/>
              <a:t>Click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26336668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478024" y="344458"/>
            <a:ext cx="6437376" cy="30777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" name="Content Placeholder 7"/>
          <p:cNvSpPr>
            <a:spLocks noGrp="1"/>
          </p:cNvSpPr>
          <p:nvPr>
            <p:ph sz="quarter" idx="19"/>
          </p:nvPr>
        </p:nvSpPr>
        <p:spPr>
          <a:xfrm>
            <a:off x="228600" y="749808"/>
            <a:ext cx="2743200" cy="1523494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None/>
              <a:defRPr sz="12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 sz="1100"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 sz="1100"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 sz="1100"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095375" y="6468919"/>
            <a:ext cx="7197725" cy="146194"/>
          </a:xfrm>
        </p:spPr>
        <p:txBody>
          <a:bodyPr lIns="38100" tIns="38100" rIns="38100" bIns="0" anchor="b" anchorCtr="0">
            <a:spAutoFit/>
          </a:bodyPr>
          <a:lstStyle>
            <a:lvl1pPr marL="0" indent="0">
              <a:buFont typeface="+mj-lt"/>
              <a:buNone/>
              <a:defRPr sz="700"/>
            </a:lvl1pPr>
          </a:lstStyle>
          <a:p>
            <a:pPr lvl="0"/>
            <a:r>
              <a:rPr lang="en-US" dirty="0"/>
              <a:t>Click to insert footnotes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22"/>
          </p:nvPr>
        </p:nvSpPr>
        <p:spPr>
          <a:xfrm>
            <a:off x="3200400" y="749808"/>
            <a:ext cx="2743200" cy="1523494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None/>
              <a:defRPr sz="12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 sz="1100"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 sz="1100"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 sz="1100"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7"/>
          <p:cNvSpPr>
            <a:spLocks noGrp="1"/>
          </p:cNvSpPr>
          <p:nvPr>
            <p:ph sz="quarter" idx="23"/>
          </p:nvPr>
        </p:nvSpPr>
        <p:spPr>
          <a:xfrm>
            <a:off x="6175375" y="749808"/>
            <a:ext cx="2743200" cy="1523494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None/>
              <a:defRPr sz="12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 sz="1100"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 sz="1100"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 sz="1100"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67406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478024" y="344458"/>
            <a:ext cx="6437376" cy="30777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Content Placeholder 7"/>
          <p:cNvSpPr>
            <a:spLocks noGrp="1"/>
          </p:cNvSpPr>
          <p:nvPr>
            <p:ph sz="quarter" idx="17"/>
          </p:nvPr>
        </p:nvSpPr>
        <p:spPr>
          <a:xfrm>
            <a:off x="228600" y="749808"/>
            <a:ext cx="4270248" cy="1338828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None/>
              <a:defRPr sz="12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 sz="1100"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 sz="1100"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 sz="1100"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7"/>
          <p:cNvSpPr>
            <a:spLocks noGrp="1"/>
          </p:cNvSpPr>
          <p:nvPr>
            <p:ph sz="quarter" idx="18"/>
          </p:nvPr>
        </p:nvSpPr>
        <p:spPr>
          <a:xfrm>
            <a:off x="4645152" y="749808"/>
            <a:ext cx="4270248" cy="1338828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Clr>
                <a:schemeClr val="accent3"/>
              </a:buClr>
              <a:buNone/>
              <a:defRPr sz="12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 sz="1100"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 sz="1100"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 sz="1100"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7"/>
          <p:cNvSpPr>
            <a:spLocks noGrp="1"/>
          </p:cNvSpPr>
          <p:nvPr>
            <p:ph sz="quarter" idx="19"/>
          </p:nvPr>
        </p:nvSpPr>
        <p:spPr>
          <a:xfrm>
            <a:off x="228600" y="3429000"/>
            <a:ext cx="4270248" cy="1338828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Clr>
                <a:schemeClr val="accent3"/>
              </a:buClr>
              <a:buNone/>
              <a:defRPr sz="12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 sz="1100"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 sz="1100"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 sz="1100"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20"/>
          </p:nvPr>
        </p:nvSpPr>
        <p:spPr>
          <a:xfrm>
            <a:off x="4653502" y="3429000"/>
            <a:ext cx="4270248" cy="1338828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Clr>
                <a:schemeClr val="accent3"/>
              </a:buClr>
              <a:buNone/>
              <a:defRPr sz="12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 sz="1100"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 sz="1100"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 sz="1100"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1095375" y="6468919"/>
            <a:ext cx="7197725" cy="146194"/>
          </a:xfrm>
        </p:spPr>
        <p:txBody>
          <a:bodyPr lIns="38100" tIns="38100" rIns="38100" bIns="0" anchor="b" anchorCtr="0">
            <a:spAutoFit/>
          </a:bodyPr>
          <a:lstStyle>
            <a:lvl1pPr marL="0" indent="0">
              <a:buFont typeface="+mj-lt"/>
              <a:buNone/>
              <a:defRPr sz="700"/>
            </a:lvl1pPr>
          </a:lstStyle>
          <a:p>
            <a:pPr lvl="0"/>
            <a:r>
              <a:rPr lang="en-US" dirty="0"/>
              <a:t>Click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28243846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478024" y="344458"/>
            <a:ext cx="6437376" cy="30777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Slide Number Placeholder 5"/>
          <p:cNvSpPr txBox="1">
            <a:spLocks/>
          </p:cNvSpPr>
          <p:nvPr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228600" y="749808"/>
            <a:ext cx="8686800" cy="141577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None/>
              <a:defRPr sz="13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095375" y="6468919"/>
            <a:ext cx="7197725" cy="146194"/>
          </a:xfrm>
        </p:spPr>
        <p:txBody>
          <a:bodyPr lIns="38100" tIns="38100" rIns="38100" bIns="0" anchor="b" anchorCtr="0">
            <a:spAutoFit/>
          </a:bodyPr>
          <a:lstStyle>
            <a:lvl1pPr marL="0" indent="0">
              <a:buFont typeface="+mj-lt"/>
              <a:buNone/>
              <a:defRPr sz="700"/>
            </a:lvl1pPr>
          </a:lstStyle>
          <a:p>
            <a:pPr lvl="0"/>
            <a:r>
              <a:rPr lang="en-US" dirty="0"/>
              <a:t>Click to insert footnotes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4584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ombstones_8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478024" y="344458"/>
            <a:ext cx="6437376" cy="30777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228600" y="749808"/>
            <a:ext cx="8686800" cy="141577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None/>
              <a:defRPr sz="13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095375" y="6468919"/>
            <a:ext cx="7197725" cy="146194"/>
          </a:xfrm>
        </p:spPr>
        <p:txBody>
          <a:bodyPr lIns="38100" tIns="38100" rIns="38100" bIns="0" anchor="b" anchorCtr="0">
            <a:spAutoFit/>
          </a:bodyPr>
          <a:lstStyle>
            <a:lvl1pPr marL="0" indent="0">
              <a:buFont typeface="+mj-lt"/>
              <a:buNone/>
              <a:defRPr sz="700"/>
            </a:lvl1pPr>
          </a:lstStyle>
          <a:p>
            <a:pPr lvl="0"/>
            <a:r>
              <a:rPr lang="en-US" dirty="0"/>
              <a:t>Click to insert footno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25425" y="16002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2484967" y="16002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4744509" y="16002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004050" y="1595819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228854" y="38354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2488396" y="38354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4747938" y="38354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7007479" y="3831019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1375490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ombstones_8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478024" y="344458"/>
            <a:ext cx="6437376" cy="30777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228600" y="749808"/>
            <a:ext cx="8686800" cy="141577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None/>
              <a:defRPr sz="13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095375" y="6468919"/>
            <a:ext cx="7197725" cy="146194"/>
          </a:xfrm>
        </p:spPr>
        <p:txBody>
          <a:bodyPr lIns="38100" tIns="38100" rIns="38100" bIns="0" anchor="b" anchorCtr="0">
            <a:spAutoFit/>
          </a:bodyPr>
          <a:lstStyle>
            <a:lvl1pPr marL="0" indent="0">
              <a:buFont typeface="+mj-lt"/>
              <a:buNone/>
              <a:defRPr sz="700"/>
            </a:lvl1pPr>
          </a:lstStyle>
          <a:p>
            <a:pPr lvl="0"/>
            <a:r>
              <a:rPr lang="en-US" dirty="0"/>
              <a:t>Click to insert footno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25425" y="16002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2484967" y="16002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4744509" y="16002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004050" y="16002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225425" y="38354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2484967" y="38354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4744509" y="38354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7004050" y="38354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3720719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ombstones_10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478024" y="344458"/>
            <a:ext cx="6437376" cy="30777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228600" y="749808"/>
            <a:ext cx="8686800" cy="141577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None/>
              <a:defRPr sz="13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095375" y="6468919"/>
            <a:ext cx="7197725" cy="146194"/>
          </a:xfrm>
        </p:spPr>
        <p:txBody>
          <a:bodyPr lIns="38100" tIns="38100" rIns="38100" bIns="0" anchor="b" anchorCtr="0">
            <a:spAutoFit/>
          </a:bodyPr>
          <a:lstStyle>
            <a:lvl1pPr marL="0" indent="0">
              <a:buFont typeface="+mj-lt"/>
              <a:buNone/>
              <a:defRPr sz="700"/>
            </a:lvl1pPr>
          </a:lstStyle>
          <a:p>
            <a:pPr lvl="0"/>
            <a:r>
              <a:rPr lang="en-US" dirty="0"/>
              <a:t>Click to insert footno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25425" y="16002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1994090" y="16002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3762755" y="16002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5531420" y="1595819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228854" y="38354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1997519" y="38354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3766184" y="38354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5534849" y="3831019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6" hasCustomPrompt="1"/>
          </p:nvPr>
        </p:nvSpPr>
        <p:spPr>
          <a:xfrm>
            <a:off x="7300087" y="16002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7" hasCustomPrompt="1"/>
          </p:nvPr>
        </p:nvSpPr>
        <p:spPr>
          <a:xfrm>
            <a:off x="7303516" y="38354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4624598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ombstones_10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478024" y="344458"/>
            <a:ext cx="6437376" cy="30777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228600" y="749808"/>
            <a:ext cx="8686800" cy="141577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None/>
              <a:defRPr sz="13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095375" y="6468919"/>
            <a:ext cx="7197725" cy="146194"/>
          </a:xfrm>
        </p:spPr>
        <p:txBody>
          <a:bodyPr lIns="38100" tIns="38100" rIns="38100" bIns="0" anchor="b" anchorCtr="0">
            <a:spAutoFit/>
          </a:bodyPr>
          <a:lstStyle>
            <a:lvl1pPr marL="0" indent="0">
              <a:buFont typeface="+mj-lt"/>
              <a:buNone/>
              <a:defRPr sz="700"/>
            </a:lvl1pPr>
          </a:lstStyle>
          <a:p>
            <a:pPr lvl="0"/>
            <a:r>
              <a:rPr lang="en-US" dirty="0"/>
              <a:t>Click to insert footno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25425" y="16002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1997869" y="16002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3770313" y="16002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5542757" y="16002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225425" y="38354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1997869" y="38354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3770313" y="38354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5542757" y="3835400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6" hasCustomPrompt="1"/>
          </p:nvPr>
        </p:nvSpPr>
        <p:spPr>
          <a:xfrm>
            <a:off x="7315200" y="1595819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7" hasCustomPrompt="1"/>
          </p:nvPr>
        </p:nvSpPr>
        <p:spPr>
          <a:xfrm>
            <a:off x="7315200" y="3831019"/>
            <a:ext cx="1600200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2393899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&amp; Tombst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478024" y="344458"/>
            <a:ext cx="6437376" cy="30777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228600" y="749808"/>
            <a:ext cx="8686800" cy="141577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None/>
              <a:defRPr sz="13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095375" y="6468919"/>
            <a:ext cx="7197725" cy="146194"/>
          </a:xfrm>
        </p:spPr>
        <p:txBody>
          <a:bodyPr lIns="38100" tIns="38100" rIns="38100" bIns="0" anchor="b" anchorCtr="0">
            <a:spAutoFit/>
          </a:bodyPr>
          <a:lstStyle>
            <a:lvl1pPr marL="0" indent="0">
              <a:buFont typeface="+mj-lt"/>
              <a:buNone/>
              <a:defRPr sz="700"/>
            </a:lvl1pPr>
          </a:lstStyle>
          <a:p>
            <a:pPr lvl="0"/>
            <a:r>
              <a:rPr lang="en-US" dirty="0"/>
              <a:t>Click to insert footnot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4744509" y="16002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004050" y="1595819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4747938" y="38354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7007479" y="3831019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662571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478024" y="344458"/>
            <a:ext cx="6437376" cy="30777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44475" y="3753193"/>
            <a:ext cx="8674100" cy="2186288"/>
          </a:xfrm>
        </p:spPr>
        <p:txBody>
          <a:bodyPr lIns="45720" rIns="45720" anchor="t" anchorCtr="0"/>
          <a:lstStyle>
            <a:lvl1pPr algn="l">
              <a:spcAft>
                <a:spcPts val="300"/>
              </a:spcAft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5170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	|	 </a:t>
            </a:r>
            <a:fld id="{FB5A38A9-14EB-4F11-8E34-5A9241661698}" type="slidenum">
              <a:rPr lang="en-US">
                <a:solidFill>
                  <a:schemeClr val="tx1"/>
                </a:solidFill>
              </a:rPr>
              <a:pPr>
                <a:defRPr/>
              </a:pPr>
              <a:t>‹#›</a:t>
            </a:fld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5799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477" y="1012427"/>
            <a:ext cx="4003810" cy="5225094"/>
          </a:xfrm>
        </p:spPr>
        <p:txBody>
          <a:bodyPr>
            <a:noAutofit/>
          </a:bodyPr>
          <a:lstStyle>
            <a:lvl1pPr marL="311755" indent="-311755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4"/>
          </p:nvPr>
        </p:nvSpPr>
        <p:spPr>
          <a:xfrm>
            <a:off x="4692806" y="1012427"/>
            <a:ext cx="4003810" cy="5225094"/>
          </a:xfrm>
        </p:spPr>
        <p:txBody>
          <a:bodyPr>
            <a:noAutofit/>
          </a:bodyPr>
          <a:lstStyle>
            <a:lvl1pPr marL="311755" indent="-311755"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5" hasCustomPrompt="1"/>
          </p:nvPr>
        </p:nvSpPr>
        <p:spPr>
          <a:xfrm>
            <a:off x="452478" y="6241033"/>
            <a:ext cx="4003810" cy="262108"/>
          </a:xfrm>
        </p:spPr>
        <p:txBody>
          <a:bodyPr anchor="b">
            <a:noAutofit/>
          </a:bodyPr>
          <a:lstStyle>
            <a:lvl1pPr marL="0" indent="0" algn="l">
              <a:buNone/>
              <a:defRPr sz="9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Note/Source</a:t>
            </a:r>
          </a:p>
        </p:txBody>
      </p:sp>
      <p:sp>
        <p:nvSpPr>
          <p:cNvPr id="9" name="Content Placeholder 7"/>
          <p:cNvSpPr>
            <a:spLocks noGrp="1"/>
          </p:cNvSpPr>
          <p:nvPr>
            <p:ph sz="quarter" idx="18" hasCustomPrompt="1"/>
          </p:nvPr>
        </p:nvSpPr>
        <p:spPr>
          <a:xfrm>
            <a:off x="4699965" y="6241033"/>
            <a:ext cx="4003810" cy="262108"/>
          </a:xfrm>
        </p:spPr>
        <p:txBody>
          <a:bodyPr anchor="b">
            <a:noAutofit/>
          </a:bodyPr>
          <a:lstStyle>
            <a:lvl1pPr marL="0" indent="0" algn="l">
              <a:buNone/>
              <a:defRPr sz="9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Note/Sour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6626B614-735F-44E5-B2C9-6FE8D55606B9}" type="datetime3">
              <a:rPr lang="en-US" smtClean="0"/>
              <a:t>25 April 20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01746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5" y="1117"/>
          <a:ext cx="1114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5" y="1117"/>
                        <a:ext cx="1114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74944" y="478774"/>
            <a:ext cx="8794114" cy="346362"/>
          </a:xfrm>
        </p:spPr>
        <p:txBody>
          <a:bodyPr anchor="ctr" anchorCtr="0">
            <a:spAutoFit/>
          </a:bodyPr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Segoe UI Semibold" panose="020B0702040204020203" pitchFamily="34" charset="0"/>
                <a:ea typeface="Arial Unicode MS" pitchFamily="34" charset="-128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62412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60120"/>
            <a:ext cx="8686800" cy="1158688"/>
          </a:xfrm>
        </p:spPr>
        <p:txBody>
          <a:bodyPr/>
          <a:lstStyle>
            <a:lvl1pPr>
              <a:spcBef>
                <a:spcPts val="590"/>
              </a:spcBef>
              <a:spcAft>
                <a:spcPts val="590"/>
              </a:spcAft>
              <a:defRPr>
                <a:solidFill>
                  <a:schemeClr val="accent1"/>
                </a:solidFill>
              </a:defRPr>
            </a:lvl1pPr>
            <a:lvl2pPr>
              <a:spcBef>
                <a:spcPts val="295"/>
              </a:spcBef>
              <a:spcAft>
                <a:spcPts val="295"/>
              </a:spcAft>
              <a:buClr>
                <a:schemeClr val="accent1"/>
              </a:buClr>
              <a:defRPr/>
            </a:lvl2pPr>
            <a:lvl3pPr>
              <a:spcBef>
                <a:spcPts val="295"/>
              </a:spcBef>
              <a:spcAft>
                <a:spcPts val="295"/>
              </a:spcAft>
              <a:buClr>
                <a:schemeClr val="accent1"/>
              </a:buClr>
              <a:defRPr/>
            </a:lvl3pPr>
            <a:lvl4pPr>
              <a:spcBef>
                <a:spcPts val="295"/>
              </a:spcBef>
              <a:spcAft>
                <a:spcPts val="295"/>
              </a:spcAft>
              <a:buClr>
                <a:schemeClr val="accent1"/>
              </a:buClr>
              <a:defRPr/>
            </a:lvl4pPr>
            <a:lvl5pPr>
              <a:spcBef>
                <a:spcPts val="295"/>
              </a:spcBef>
              <a:spcAft>
                <a:spcPts val="295"/>
              </a:spcAft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29600" y="6409164"/>
            <a:ext cx="685800" cy="594360"/>
          </a:xfrm>
        </p:spPr>
        <p:txBody>
          <a:bodyPr vert="horz" lIns="50941" tIns="50941" rIns="101882" bIns="50941" rtlCol="0" anchor="ctr"/>
          <a:lstStyle>
            <a:lvl1pPr>
              <a:defRPr lang="en-CA">
                <a:solidFill>
                  <a:schemeClr val="tx1"/>
                </a:solidFill>
              </a:defRPr>
            </a:lvl1pPr>
          </a:lstStyle>
          <a:p>
            <a:pPr algn="r"/>
            <a:fld id="{E633FACB-E57B-4CDC-9F3B-D7F03E444374}" type="slidenum">
              <a:rPr lang="en-US"/>
              <a:pPr algn="r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28600" y="6400800"/>
            <a:ext cx="7543800" cy="123111"/>
          </a:xfrm>
        </p:spPr>
        <p:txBody>
          <a:bodyPr lIns="0" tIns="0" rIns="0" bIns="0" anchor="b" anchorCtr="0"/>
          <a:lstStyle>
            <a:lvl1pPr marL="109254" indent="-109254">
              <a:spcBef>
                <a:spcPct val="0"/>
              </a:spcBef>
              <a:spcAft>
                <a:spcPct val="0"/>
              </a:spcAft>
              <a:defRPr sz="794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add footnote</a:t>
            </a:r>
            <a:endParaRPr lang="en-CA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228600" y="6633888"/>
            <a:ext cx="7543800" cy="1494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>
              <a:defRPr lang="en-US" sz="971" b="1">
                <a:solidFill>
                  <a:schemeClr val="tx2"/>
                </a:solidFill>
              </a:defRPr>
            </a:lvl1pPr>
          </a:lstStyle>
          <a:p>
            <a:pPr>
              <a:spcBef>
                <a:spcPts val="590"/>
              </a:spcBef>
              <a:spcAft>
                <a:spcPts val="590"/>
              </a:spcAft>
            </a:pPr>
            <a:r>
              <a:rPr lang="en-CA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66345658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478024" y="344458"/>
            <a:ext cx="6437376" cy="30777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Slide Number Placeholder 5"/>
          <p:cNvSpPr txBox="1">
            <a:spLocks/>
          </p:cNvSpPr>
          <p:nvPr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095375" y="6468919"/>
            <a:ext cx="7197725" cy="146194"/>
          </a:xfrm>
        </p:spPr>
        <p:txBody>
          <a:bodyPr lIns="38100" tIns="38100" rIns="38100" bIns="0" anchor="b" anchorCtr="0">
            <a:spAutoFit/>
          </a:bodyPr>
          <a:lstStyle>
            <a:lvl1pPr marL="0" indent="0">
              <a:buFont typeface="+mj-lt"/>
              <a:buNone/>
              <a:defRPr sz="700"/>
            </a:lvl1pPr>
          </a:lstStyle>
          <a:p>
            <a:pPr lvl="0"/>
            <a:r>
              <a:rPr lang="en-US" dirty="0"/>
              <a:t>Click to insert footnot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759830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238545"/>
            <a:ext cx="8497092" cy="616455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3F149-83C4-4179-9681-702531CCFDAC}" type="datetimeFigureOut">
              <a:rPr lang="de-DE" smtClean="0"/>
              <a:pPr/>
              <a:t>25.04.21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1E638-3F78-4E0D-883A-B278700C48C0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23850" y="854999"/>
            <a:ext cx="8496300" cy="336244"/>
          </a:xfrm>
        </p:spPr>
        <p:txBody>
          <a:bodyPr lIns="0" tIns="0" rIns="0" bIns="0" anchor="t" anchorCtr="0">
            <a:noAutofit/>
          </a:bodyPr>
          <a:lstStyle>
            <a:lvl1pPr>
              <a:buNone/>
              <a:defRPr sz="20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059494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1484784"/>
            <a:ext cx="9144000" cy="4416426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AU" dirty="0"/>
          </a:p>
        </p:txBody>
      </p:sp>
      <p:sp>
        <p:nvSpPr>
          <p:cNvPr id="7" name="Date Placeholder 6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9184E2-6B79-4F6A-AE2C-866E64FCFD32}" type="datetime1">
              <a:rPr lang="en-AU" smtClean="0"/>
              <a:t>25/4/21</a:t>
            </a:fld>
            <a:endParaRPr lang="en-A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arnessing private investment to support sustainable forestry, climate action and community developmen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640F-CFE1-4BB9-82FF-56F78E496AE8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9675" y="1916832"/>
            <a:ext cx="3667125" cy="352839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600"/>
            </a:lvl6pPr>
            <a:lvl7pPr>
              <a:defRPr sz="600"/>
            </a:lvl7pPr>
            <a:lvl8pPr>
              <a:defRPr sz="600"/>
            </a:lvl8pPr>
            <a:lvl9pPr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5620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2" name="Text Placeholder 2"/>
          <p:cNvSpPr>
            <a:spLocks noGrp="1"/>
          </p:cNvSpPr>
          <p:nvPr>
            <p:ph type="body" idx="14"/>
          </p:nvPr>
        </p:nvSpPr>
        <p:spPr>
          <a:xfrm>
            <a:off x="457201" y="836712"/>
            <a:ext cx="8218195" cy="384639"/>
          </a:xfrm>
        </p:spPr>
        <p:txBody>
          <a:bodyPr anchor="ctr">
            <a:norm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Century Gothic" pitchFamily="34" charset="0"/>
              </a:defRPr>
            </a:lvl1pPr>
            <a:lvl2pPr marL="171450" indent="0">
              <a:buNone/>
              <a:defRPr sz="800" b="1"/>
            </a:lvl2pPr>
            <a:lvl3pPr marL="342900" indent="0">
              <a:buNone/>
              <a:defRPr sz="700" b="1"/>
            </a:lvl3pPr>
            <a:lvl4pPr marL="514350" indent="0">
              <a:buNone/>
              <a:defRPr sz="600" b="1"/>
            </a:lvl4pPr>
            <a:lvl5pPr marL="685800" indent="0">
              <a:buNone/>
              <a:defRPr sz="600" b="1"/>
            </a:lvl5pPr>
            <a:lvl6pPr marL="857250" indent="0">
              <a:buNone/>
              <a:defRPr sz="600" b="1"/>
            </a:lvl6pPr>
            <a:lvl7pPr marL="1028700" indent="0">
              <a:buNone/>
              <a:defRPr sz="600" b="1"/>
            </a:lvl7pPr>
            <a:lvl8pPr marL="1200150" indent="0">
              <a:buNone/>
              <a:defRPr sz="600" b="1"/>
            </a:lvl8pPr>
            <a:lvl9pPr marL="1371600" indent="0">
              <a:buNone/>
              <a:defRPr sz="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91323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12776"/>
            <a:ext cx="8229600" cy="4416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9CE14C-E239-47CB-BE6B-070A823A36BD}" type="datetime1">
              <a:rPr lang="en-AU" smtClean="0"/>
              <a:t>25/4/21</a:t>
            </a:fld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arnessing private investment to support sustainable forestry, climate action and community developmen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640F-CFE1-4BB9-82FF-56F78E496AE8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457201" y="836712"/>
            <a:ext cx="8219255" cy="384639"/>
          </a:xfrm>
        </p:spPr>
        <p:txBody>
          <a:bodyPr anchor="ctr">
            <a:norm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Century Gothic" pitchFamily="34" charset="0"/>
              </a:defRPr>
            </a:lvl1pPr>
            <a:lvl2pPr marL="171450" indent="0">
              <a:buNone/>
              <a:defRPr sz="800" b="1"/>
            </a:lvl2pPr>
            <a:lvl3pPr marL="342900" indent="0">
              <a:buNone/>
              <a:defRPr sz="700" b="1"/>
            </a:lvl3pPr>
            <a:lvl4pPr marL="514350" indent="0">
              <a:buNone/>
              <a:defRPr sz="600" b="1"/>
            </a:lvl4pPr>
            <a:lvl5pPr marL="685800" indent="0">
              <a:buNone/>
              <a:defRPr sz="600" b="1"/>
            </a:lvl5pPr>
            <a:lvl6pPr marL="857250" indent="0">
              <a:buNone/>
              <a:defRPr sz="600" b="1"/>
            </a:lvl6pPr>
            <a:lvl7pPr marL="1028700" indent="0">
              <a:buNone/>
              <a:defRPr sz="600" b="1"/>
            </a:lvl7pPr>
            <a:lvl8pPr marL="1200150" indent="0">
              <a:buNone/>
              <a:defRPr sz="600" b="1"/>
            </a:lvl8pPr>
            <a:lvl9pPr marL="1371600" indent="0">
              <a:buNone/>
              <a:defRPr sz="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62651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1A7125-7FED-4EF9-84DD-871DA7C143F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703394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2679192"/>
            <a:ext cx="6400800" cy="1152144"/>
          </a:xfrm>
          <a:solidFill>
            <a:schemeClr val="accent2"/>
          </a:solidFill>
        </p:spPr>
        <p:txBody>
          <a:bodyPr anchor="ctr" anchorCtr="0">
            <a:noAutofit/>
          </a:bodyPr>
          <a:lstStyle>
            <a:lvl1pPr algn="ctr">
              <a:defRPr sz="14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031736" y="6455664"/>
            <a:ext cx="1984248" cy="2616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1000" dirty="0">
                <a:solidFill>
                  <a:schemeClr val="accent2"/>
                </a:solidFill>
                <a:latin typeface="Verdana" pitchFamily="34" charset="0"/>
              </a:rPr>
              <a:t>Confidential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 userDrawn="1"/>
        </p:nvSpPr>
        <p:spPr>
          <a:xfrm>
            <a:off x="7031736" y="6455664"/>
            <a:ext cx="1984248" cy="2616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1000" dirty="0">
                <a:solidFill>
                  <a:schemeClr val="accent2"/>
                </a:solidFill>
                <a:latin typeface="Verdana" pitchFamily="34" charset="0"/>
              </a:rPr>
              <a:t>Confidential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799551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478024" y="344458"/>
            <a:ext cx="6437376" cy="30777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Slide Number Placeholder 5"/>
          <p:cNvSpPr txBox="1">
            <a:spLocks/>
          </p:cNvSpPr>
          <p:nvPr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Content Placeholder 7"/>
          <p:cNvSpPr>
            <a:spLocks noGrp="1"/>
          </p:cNvSpPr>
          <p:nvPr>
            <p:ph sz="quarter" idx="17"/>
          </p:nvPr>
        </p:nvSpPr>
        <p:spPr>
          <a:xfrm>
            <a:off x="228600" y="749808"/>
            <a:ext cx="4270248" cy="141577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None/>
              <a:defRPr sz="13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7"/>
          <p:cNvSpPr>
            <a:spLocks noGrp="1"/>
          </p:cNvSpPr>
          <p:nvPr>
            <p:ph sz="quarter" idx="18"/>
          </p:nvPr>
        </p:nvSpPr>
        <p:spPr>
          <a:xfrm>
            <a:off x="4645152" y="749808"/>
            <a:ext cx="4270248" cy="141577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None/>
              <a:defRPr sz="13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1095375" y="6468919"/>
            <a:ext cx="7197725" cy="146194"/>
          </a:xfrm>
        </p:spPr>
        <p:txBody>
          <a:bodyPr lIns="38100" tIns="38100" rIns="38100" bIns="0" anchor="b" anchorCtr="0">
            <a:spAutoFit/>
          </a:bodyPr>
          <a:lstStyle>
            <a:lvl1pPr marL="0" indent="0">
              <a:buFont typeface="+mj-lt"/>
              <a:buNone/>
              <a:defRPr sz="700"/>
            </a:lvl1pPr>
          </a:lstStyle>
          <a:p>
            <a:pPr lvl="0"/>
            <a:r>
              <a:rPr lang="en-US" dirty="0"/>
              <a:t>Click to insert footnotes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36668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478024" y="344458"/>
            <a:ext cx="6437376" cy="30777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Slide Number Placeholder 5"/>
          <p:cNvSpPr txBox="1">
            <a:spLocks/>
          </p:cNvSpPr>
          <p:nvPr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" name="Content Placeholder 7"/>
          <p:cNvSpPr>
            <a:spLocks noGrp="1"/>
          </p:cNvSpPr>
          <p:nvPr>
            <p:ph sz="quarter" idx="19"/>
          </p:nvPr>
        </p:nvSpPr>
        <p:spPr>
          <a:xfrm>
            <a:off x="228600" y="749808"/>
            <a:ext cx="2743200" cy="1523494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None/>
              <a:defRPr sz="12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 sz="1100"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 sz="1100"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 sz="1100"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095375" y="6468919"/>
            <a:ext cx="7197725" cy="146194"/>
          </a:xfrm>
        </p:spPr>
        <p:txBody>
          <a:bodyPr lIns="38100" tIns="38100" rIns="38100" bIns="0" anchor="b" anchorCtr="0">
            <a:spAutoFit/>
          </a:bodyPr>
          <a:lstStyle>
            <a:lvl1pPr marL="0" indent="0">
              <a:buFont typeface="+mj-lt"/>
              <a:buNone/>
              <a:defRPr sz="700"/>
            </a:lvl1pPr>
          </a:lstStyle>
          <a:p>
            <a:pPr lvl="0"/>
            <a:r>
              <a:rPr lang="en-US" dirty="0"/>
              <a:t>Click to insert footnotes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22"/>
          </p:nvPr>
        </p:nvSpPr>
        <p:spPr>
          <a:xfrm>
            <a:off x="3200400" y="749808"/>
            <a:ext cx="2743200" cy="1523494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None/>
              <a:defRPr sz="12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 sz="1100"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 sz="1100"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 sz="1100"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7"/>
          <p:cNvSpPr>
            <a:spLocks noGrp="1"/>
          </p:cNvSpPr>
          <p:nvPr>
            <p:ph sz="quarter" idx="23"/>
          </p:nvPr>
        </p:nvSpPr>
        <p:spPr>
          <a:xfrm>
            <a:off x="6175375" y="749808"/>
            <a:ext cx="2743200" cy="1523494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None/>
              <a:defRPr sz="12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 sz="1100"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 sz="1100"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 sz="1100"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67406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478024" y="344458"/>
            <a:ext cx="6437376" cy="30777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Slide Number Placeholder 5"/>
          <p:cNvSpPr txBox="1">
            <a:spLocks/>
          </p:cNvSpPr>
          <p:nvPr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Content Placeholder 7"/>
          <p:cNvSpPr>
            <a:spLocks noGrp="1"/>
          </p:cNvSpPr>
          <p:nvPr>
            <p:ph sz="quarter" idx="17"/>
          </p:nvPr>
        </p:nvSpPr>
        <p:spPr>
          <a:xfrm>
            <a:off x="228600" y="749808"/>
            <a:ext cx="4270248" cy="1338828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None/>
              <a:defRPr sz="12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 sz="1100"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 sz="1100"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 sz="1100"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7"/>
          <p:cNvSpPr>
            <a:spLocks noGrp="1"/>
          </p:cNvSpPr>
          <p:nvPr>
            <p:ph sz="quarter" idx="18"/>
          </p:nvPr>
        </p:nvSpPr>
        <p:spPr>
          <a:xfrm>
            <a:off x="4645152" y="749808"/>
            <a:ext cx="4270248" cy="1338828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Clr>
                <a:schemeClr val="accent3"/>
              </a:buClr>
              <a:buNone/>
              <a:defRPr sz="12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 sz="1100"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 sz="1100"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 sz="1100"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7"/>
          <p:cNvSpPr>
            <a:spLocks noGrp="1"/>
          </p:cNvSpPr>
          <p:nvPr>
            <p:ph sz="quarter" idx="19"/>
          </p:nvPr>
        </p:nvSpPr>
        <p:spPr>
          <a:xfrm>
            <a:off x="228600" y="3429000"/>
            <a:ext cx="4270248" cy="1338828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Clr>
                <a:schemeClr val="accent3"/>
              </a:buClr>
              <a:buNone/>
              <a:defRPr sz="12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 sz="1100"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 sz="1100"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 sz="1100"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7"/>
          <p:cNvSpPr>
            <a:spLocks noGrp="1"/>
          </p:cNvSpPr>
          <p:nvPr>
            <p:ph sz="quarter" idx="20"/>
          </p:nvPr>
        </p:nvSpPr>
        <p:spPr>
          <a:xfrm>
            <a:off x="4653502" y="3429000"/>
            <a:ext cx="4270248" cy="1338828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Clr>
                <a:schemeClr val="accent3"/>
              </a:buClr>
              <a:buNone/>
              <a:defRPr sz="12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 sz="1100"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 sz="1100"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 sz="1100"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1095375" y="6468919"/>
            <a:ext cx="7197725" cy="146194"/>
          </a:xfrm>
        </p:spPr>
        <p:txBody>
          <a:bodyPr lIns="38100" tIns="38100" rIns="38100" bIns="0" anchor="b" anchorCtr="0">
            <a:spAutoFit/>
          </a:bodyPr>
          <a:lstStyle>
            <a:lvl1pPr marL="0" indent="0">
              <a:buFont typeface="+mj-lt"/>
              <a:buNone/>
              <a:defRPr sz="700"/>
            </a:lvl1pPr>
          </a:lstStyle>
          <a:p>
            <a:pPr lvl="0"/>
            <a:r>
              <a:rPr lang="en-US" dirty="0"/>
              <a:t>Click to insert footnot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43846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ombstones_8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478024" y="344458"/>
            <a:ext cx="6437376" cy="30777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Slide Number Placeholder 5"/>
          <p:cNvSpPr txBox="1">
            <a:spLocks/>
          </p:cNvSpPr>
          <p:nvPr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228600" y="749808"/>
            <a:ext cx="8686800" cy="141577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None/>
              <a:defRPr sz="13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095375" y="6468919"/>
            <a:ext cx="7197725" cy="146194"/>
          </a:xfrm>
        </p:spPr>
        <p:txBody>
          <a:bodyPr lIns="38100" tIns="38100" rIns="38100" bIns="0" anchor="b" anchorCtr="0">
            <a:spAutoFit/>
          </a:bodyPr>
          <a:lstStyle>
            <a:lvl1pPr marL="0" indent="0">
              <a:buFont typeface="+mj-lt"/>
              <a:buNone/>
              <a:defRPr sz="700"/>
            </a:lvl1pPr>
          </a:lstStyle>
          <a:p>
            <a:pPr lvl="0"/>
            <a:r>
              <a:rPr lang="en-US" dirty="0"/>
              <a:t>Click to insert footno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25425" y="16002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2484967" y="16002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4744509" y="16002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004050" y="1595819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228854" y="38354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2488396" y="38354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4747938" y="38354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7007479" y="3831019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4000"/>
              </a:spcAft>
              <a:buNone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10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lvl="0"/>
            <a:r>
              <a:rPr lang="en-US" dirty="0"/>
              <a:t>Company [Name/Logo]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5490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ombstones_8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478024" y="344458"/>
            <a:ext cx="6437376" cy="30777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Slide Number Placeholder 5"/>
          <p:cNvSpPr txBox="1">
            <a:spLocks/>
          </p:cNvSpPr>
          <p:nvPr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228600" y="749808"/>
            <a:ext cx="8686800" cy="1415772"/>
          </a:xfrm>
        </p:spPr>
        <p:txBody>
          <a:bodyPr>
            <a:spAutoFit/>
          </a:bodyPr>
          <a:lstStyle>
            <a:lvl1pPr marL="0" indent="0">
              <a:spcBef>
                <a:spcPts val="1800"/>
              </a:spcBef>
              <a:spcAft>
                <a:spcPts val="1200"/>
              </a:spcAft>
              <a:buNone/>
              <a:defRPr sz="1300" b="1"/>
            </a:lvl1pPr>
            <a:lvl2pPr marL="4032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"/>
              <a:defRPr/>
            </a:lvl2pPr>
            <a:lvl3pPr marL="6858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  <a:defRPr/>
            </a:lvl3pPr>
            <a:lvl4pPr marL="10795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"/>
              <a:defRPr/>
            </a:lvl4pPr>
            <a:lvl5pPr marL="142875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Verdana" pitchFamily="34" charset="0"/>
              <a:buChar char="―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095375" y="6468919"/>
            <a:ext cx="7197725" cy="146194"/>
          </a:xfrm>
        </p:spPr>
        <p:txBody>
          <a:bodyPr lIns="38100" tIns="38100" rIns="38100" bIns="0" anchor="b" anchorCtr="0">
            <a:spAutoFit/>
          </a:bodyPr>
          <a:lstStyle>
            <a:lvl1pPr marL="0" indent="0">
              <a:buFont typeface="+mj-lt"/>
              <a:buNone/>
              <a:defRPr sz="700"/>
            </a:lvl1pPr>
          </a:lstStyle>
          <a:p>
            <a:pPr lvl="0"/>
            <a:r>
              <a:rPr lang="en-US" dirty="0"/>
              <a:t>Click to insert footno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25425" y="16002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2484967" y="16002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4744509" y="16002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004050" y="16002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225425" y="38354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2484967" y="38354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4744509" y="38354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7004050" y="3835400"/>
            <a:ext cx="1901952" cy="2057400"/>
          </a:xfrm>
          <a:ln w="12700">
            <a:solidFill>
              <a:schemeClr val="tx1"/>
            </a:solidFill>
          </a:ln>
        </p:spPr>
        <p:txBody>
          <a:bodyPr lIns="45720" rIns="45720" bIns="91440" anchor="b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700" b="1"/>
            </a:lvl1pPr>
            <a:lvl2pPr marL="0" indent="0" algn="ctr">
              <a:spcBef>
                <a:spcPts val="300"/>
              </a:spcBef>
              <a:spcAft>
                <a:spcPts val="300"/>
              </a:spcAft>
              <a:buNone/>
              <a:defRPr sz="700" b="1"/>
            </a:lvl2pPr>
            <a:lvl3pPr marL="0" indent="0" algn="ctr">
              <a:buNone/>
              <a:defRPr sz="700"/>
            </a:lvl3pPr>
            <a:lvl4pPr marL="0" indent="0" algn="ctr">
              <a:spcBef>
                <a:spcPts val="700"/>
              </a:spcBef>
              <a:buNone/>
              <a:defRPr sz="700" i="1" baseline="0"/>
            </a:lvl4pPr>
            <a:lvl5pPr marL="0" indent="0" algn="ctr">
              <a:spcBef>
                <a:spcPts val="700"/>
              </a:spcBef>
              <a:buNone/>
              <a:defRPr sz="7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ompany [Name/Logo]</a:t>
            </a:r>
          </a:p>
          <a:p>
            <a:pPr lvl="3"/>
            <a:r>
              <a:rPr lang="en-US" dirty="0"/>
              <a:t>has [Action]</a:t>
            </a:r>
          </a:p>
          <a:p>
            <a:pPr lvl="0"/>
            <a:r>
              <a:rPr lang="en-US" dirty="0"/>
              <a:t>Company [Name/Logo]</a:t>
            </a:r>
          </a:p>
          <a:p>
            <a:pPr lvl="3"/>
            <a:r>
              <a:rPr lang="en-US" dirty="0"/>
              <a:t>in a transaction valued </a:t>
            </a:r>
            <a:br>
              <a:rPr lang="en-US" dirty="0"/>
            </a:br>
            <a:r>
              <a:rPr lang="en-US" dirty="0"/>
              <a:t>at approximately</a:t>
            </a:r>
          </a:p>
          <a:p>
            <a:pPr lvl="1"/>
            <a:r>
              <a:rPr lang="en-US" dirty="0"/>
              <a:t>$ Deal Amount</a:t>
            </a:r>
          </a:p>
          <a:p>
            <a:pPr lvl="2"/>
            <a:r>
              <a:rPr lang="en-US" dirty="0"/>
              <a:t>Deal Unit Size</a:t>
            </a:r>
            <a:br>
              <a:rPr lang="en-US" dirty="0"/>
            </a:br>
            <a:r>
              <a:rPr lang="en-US" dirty="0"/>
              <a:t>Deal Type</a:t>
            </a:r>
          </a:p>
          <a:p>
            <a:pPr lvl="3"/>
            <a:r>
              <a:rPr lang="en-US" dirty="0"/>
              <a:t>CIBC World Markets Inc.</a:t>
            </a:r>
            <a:br>
              <a:rPr lang="en-US" dirty="0"/>
            </a:br>
            <a:r>
              <a:rPr lang="en-US" dirty="0"/>
              <a:t>acted as [Role] to</a:t>
            </a:r>
            <a:br>
              <a:rPr lang="en-US" dirty="0"/>
            </a:br>
            <a:r>
              <a:rPr lang="en-US" dirty="0"/>
              <a:t>[Company] </a:t>
            </a:r>
          </a:p>
          <a:p>
            <a:pPr lvl="4"/>
            <a:r>
              <a:rPr lang="en-US" dirty="0"/>
              <a:t>Dat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228600" y="685800"/>
            <a:ext cx="86868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062472"/>
            <a:ext cx="600075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Slide Number Placeholder 5"/>
          <p:cNvSpPr txBox="1">
            <a:spLocks/>
          </p:cNvSpPr>
          <p:nvPr userDrawn="1"/>
        </p:nvSpPr>
        <p:spPr>
          <a:xfrm>
            <a:off x="7958328" y="6356350"/>
            <a:ext cx="1033272" cy="3017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2"/>
                </a:solidFill>
              </a:rPr>
              <a:t>|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fld id="{070E752B-4829-44D3-8E93-8E70C031199B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0719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Verdana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Verdana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Verdana" pitchFamily="34" charset="0"/>
              </a:defRPr>
            </a:lvl1pPr>
          </a:lstStyle>
          <a:p>
            <a:fld id="{070E752B-4829-44D3-8E93-8E70C03119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158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50" r:id="rId14"/>
    <p:sldLayoutId id="2147483652" r:id="rId15"/>
    <p:sldLayoutId id="2147483651" r:id="rId16"/>
    <p:sldLayoutId id="2147483653" r:id="rId17"/>
    <p:sldLayoutId id="2147483654" r:id="rId18"/>
    <p:sldLayoutId id="2147483655" r:id="rId19"/>
    <p:sldLayoutId id="2147483656" r:id="rId20"/>
    <p:sldLayoutId id="2147483657" r:id="rId21"/>
    <p:sldLayoutId id="2147483658" r:id="rId22"/>
    <p:sldLayoutId id="2147483659" r:id="rId23"/>
    <p:sldLayoutId id="2147483660" r:id="rId24"/>
    <p:sldLayoutId id="2147483661" r:id="rId25"/>
    <p:sldLayoutId id="2147483679" r:id="rId26"/>
    <p:sldLayoutId id="2147483689" r:id="rId27"/>
    <p:sldLayoutId id="2147483694" r:id="rId28"/>
    <p:sldLayoutId id="2147483699" r:id="rId29"/>
    <p:sldLayoutId id="2147483700" r:id="rId30"/>
    <p:sldLayoutId id="2147483702" r:id="rId31"/>
    <p:sldLayoutId id="2147483703" r:id="rId32"/>
    <p:sldLayoutId id="2147483704" r:id="rId33"/>
  </p:sldLayoutIdLst>
  <p:hf hdr="0" ftr="0" dt="0"/>
  <p:txStyles>
    <p:titleStyle>
      <a:lvl1pPr algn="r" defTabSz="914400" rtl="0" eaLnBrk="1" latinLnBrk="0" hangingPunct="1">
        <a:spcBef>
          <a:spcPct val="0"/>
        </a:spcBef>
        <a:buNone/>
        <a:defRPr sz="1400" kern="1200">
          <a:solidFill>
            <a:schemeClr val="tx1"/>
          </a:solidFill>
          <a:latin typeface="Verdana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Verdana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tx1"/>
          </a:solidFill>
          <a:latin typeface="Verdana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Verdana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tx1"/>
          </a:solidFill>
          <a:latin typeface="Verdana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audio" Target="../media/media10.m4a"/><Relationship Id="rId1" Type="http://schemas.microsoft.com/office/2007/relationships/media" Target="../media/media10.m4a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audio" Target="../media/media11.m4a"/><Relationship Id="rId1" Type="http://schemas.microsoft.com/office/2007/relationships/media" Target="../media/media11.m4a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audio" Target="../media/media12.m4a"/><Relationship Id="rId1" Type="http://schemas.microsoft.com/office/2007/relationships/media" Target="../media/media12.m4a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5.png"/><Relationship Id="rId2" Type="http://schemas.openxmlformats.org/officeDocument/2006/relationships/audio" Target="../media/media13.m4a"/><Relationship Id="rId1" Type="http://schemas.microsoft.com/office/2007/relationships/media" Target="../media/media13.m4a"/><Relationship Id="rId6" Type="http://schemas.openxmlformats.org/officeDocument/2006/relationships/image" Target="../media/image4.PNG"/><Relationship Id="rId5" Type="http://schemas.openxmlformats.org/officeDocument/2006/relationships/image" Target="../media/image19.png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5.png"/><Relationship Id="rId2" Type="http://schemas.openxmlformats.org/officeDocument/2006/relationships/audio" Target="../media/media14.m4a"/><Relationship Id="rId1" Type="http://schemas.microsoft.com/office/2007/relationships/media" Target="../media/media14.m4a"/><Relationship Id="rId6" Type="http://schemas.openxmlformats.org/officeDocument/2006/relationships/image" Target="../media/image4.PNG"/><Relationship Id="rId5" Type="http://schemas.openxmlformats.org/officeDocument/2006/relationships/image" Target="../media/image20.png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audio" Target="../media/media15.m4a"/><Relationship Id="rId1" Type="http://schemas.microsoft.com/office/2007/relationships/media" Target="../media/media15.m4a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audio" Target="../media/media16.m4a"/><Relationship Id="rId1" Type="http://schemas.microsoft.com/office/2007/relationships/media" Target="../media/media16.m4a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audio" Target="../media/media2.m4a"/><Relationship Id="rId1" Type="http://schemas.microsoft.com/office/2007/relationships/media" Target="../media/media2.m4a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audio" Target="../media/media3.m4a"/><Relationship Id="rId1" Type="http://schemas.microsoft.com/office/2007/relationships/media" Target="../media/media3.m4a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4.PNG"/><Relationship Id="rId2" Type="http://schemas.openxmlformats.org/officeDocument/2006/relationships/audio" Target="../media/media4.m4a"/><Relationship Id="rId1" Type="http://schemas.microsoft.com/office/2007/relationships/media" Target="../media/media4.m4a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4.PNG"/><Relationship Id="rId2" Type="http://schemas.openxmlformats.org/officeDocument/2006/relationships/audio" Target="../media/media5.m4a"/><Relationship Id="rId1" Type="http://schemas.microsoft.com/office/2007/relationships/media" Target="../media/media5.m4a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4.PNG"/><Relationship Id="rId2" Type="http://schemas.openxmlformats.org/officeDocument/2006/relationships/audio" Target="../media/media6.m4a"/><Relationship Id="rId1" Type="http://schemas.microsoft.com/office/2007/relationships/media" Target="../media/media6.m4a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4.PNG"/><Relationship Id="rId2" Type="http://schemas.openxmlformats.org/officeDocument/2006/relationships/audio" Target="../media/media7.m4a"/><Relationship Id="rId1" Type="http://schemas.microsoft.com/office/2007/relationships/media" Target="../media/media7.m4a"/><Relationship Id="rId6" Type="http://schemas.openxmlformats.org/officeDocument/2006/relationships/image" Target="../media/image7.png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13.png"/><Relationship Id="rId12" Type="http://schemas.openxmlformats.org/officeDocument/2006/relationships/image" Target="../media/image4.PNG"/><Relationship Id="rId2" Type="http://schemas.openxmlformats.org/officeDocument/2006/relationships/audio" Target="../media/media8.m4a"/><Relationship Id="rId1" Type="http://schemas.microsoft.com/office/2007/relationships/media" Target="../media/media8.m4a"/><Relationship Id="rId6" Type="http://schemas.openxmlformats.org/officeDocument/2006/relationships/image" Target="../media/image12.jpeg"/><Relationship Id="rId11" Type="http://schemas.openxmlformats.org/officeDocument/2006/relationships/image" Target="../media/image17.png"/><Relationship Id="rId5" Type="http://schemas.openxmlformats.org/officeDocument/2006/relationships/image" Target="../media/image7.png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4.PNG"/><Relationship Id="rId2" Type="http://schemas.openxmlformats.org/officeDocument/2006/relationships/audio" Target="../media/media9.m4a"/><Relationship Id="rId1" Type="http://schemas.microsoft.com/office/2007/relationships/media" Target="../media/media9.m4a"/><Relationship Id="rId6" Type="http://schemas.openxmlformats.org/officeDocument/2006/relationships/image" Target="../media/image18.pn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"/>
          <p:cNvSpPr>
            <a:spLocks noGrp="1"/>
          </p:cNvSpPr>
          <p:nvPr>
            <p:ph type="dt" sz="half" idx="19"/>
          </p:nvPr>
        </p:nvSpPr>
        <p:spPr>
          <a:xfrm>
            <a:off x="-3403600" y="6356350"/>
            <a:ext cx="571500" cy="36512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Note"/>
          <p:cNvSpPr>
            <a:spLocks noGrp="1"/>
          </p:cNvSpPr>
          <p:nvPr>
            <p:ph sz="quarter" idx="15"/>
          </p:nvPr>
        </p:nvSpPr>
        <p:spPr>
          <a:xfrm>
            <a:off x="2642993" y="6172623"/>
            <a:ext cx="4865110" cy="262108"/>
          </a:xfrm>
        </p:spPr>
        <p:txBody>
          <a:bodyPr/>
          <a:lstStyle/>
          <a:p>
            <a:r>
              <a:rPr lang="en-GB" dirty="0"/>
              <a:t>..</a:t>
            </a:r>
          </a:p>
        </p:txBody>
      </p:sp>
      <p:sp>
        <p:nvSpPr>
          <p:cNvPr id="6" name="Title"/>
          <p:cNvSpPr>
            <a:spLocks noGrp="1"/>
          </p:cNvSpPr>
          <p:nvPr>
            <p:ph type="title"/>
          </p:nvPr>
        </p:nvSpPr>
        <p:spPr>
          <a:xfrm>
            <a:off x="376721" y="1766282"/>
            <a:ext cx="8229600" cy="1143000"/>
          </a:xfrm>
        </p:spPr>
        <p:txBody>
          <a:bodyPr/>
          <a:lstStyle/>
          <a:p>
            <a:pPr algn="ctr"/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b="1" dirty="0">
                <a:ea typeface="Verdana" panose="020B0604030504040204" pitchFamily="34" charset="0"/>
                <a:cs typeface="Verdana" panose="020B0604030504040204" pitchFamily="34" charset="0"/>
              </a:rPr>
              <a:t>Financing the Bio-economy:</a:t>
            </a:r>
            <a:br>
              <a:rPr lang="en-GB" sz="2400" b="1" dirty="0"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2400" b="1" dirty="0">
                <a:ea typeface="Verdana" panose="020B0604030504040204" pitchFamily="34" charset="0"/>
                <a:cs typeface="Verdana" panose="020B0604030504040204" pitchFamily="34" charset="0"/>
              </a:rPr>
              <a:t> Key Factors Affecting the Role of Green Bonds and Financial Institutions</a:t>
            </a:r>
            <a:br>
              <a:rPr lang="en-GB" sz="2400" b="1" dirty="0">
                <a:ea typeface="Verdana" panose="020B0604030504040204" pitchFamily="34" charset="0"/>
                <a:cs typeface="Verdana" panose="020B0604030504040204" pitchFamily="34" charset="0"/>
              </a:rPr>
            </a:br>
            <a:br>
              <a:rPr lang="en-GB" sz="2400" b="1" dirty="0">
                <a:ea typeface="Verdana" panose="020B0604030504040204" pitchFamily="34" charset="0"/>
                <a:cs typeface="Verdana" panose="020B0604030504040204" pitchFamily="34" charset="0"/>
              </a:rPr>
            </a:br>
            <a:b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2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2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3867443" y="2200627"/>
            <a:ext cx="1332914" cy="141690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977900" y="2286000"/>
            <a:ext cx="76581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Verdana" pitchFamily="34" charset="0"/>
              </a:rPr>
              <a:t>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352550" y="3552123"/>
            <a:ext cx="64897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6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n Roberts</a:t>
            </a:r>
          </a:p>
          <a:p>
            <a:pPr algn="ctr"/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EO, Nawitka Capital Advisors Ltd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FA90FE6-DC80-6C41-BA9A-E218CB400D6A}"/>
              </a:ext>
            </a:extLst>
          </p:cNvPr>
          <p:cNvSpPr txBox="1"/>
          <p:nvPr/>
        </p:nvSpPr>
        <p:spPr>
          <a:xfrm>
            <a:off x="1445741" y="5110634"/>
            <a:ext cx="63965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iofuture</a:t>
            </a: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ummit II</a:t>
            </a:r>
          </a:p>
          <a:p>
            <a:pPr algn="ctr"/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ean Energy Ministerial </a:t>
            </a:r>
            <a:r>
              <a:rPr lang="en-US" sz="16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iofuture</a:t>
            </a:r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nitiative</a:t>
            </a:r>
          </a:p>
          <a:p>
            <a:pPr algn="ctr"/>
            <a:r>
              <a:rPr lang="en-US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y 2021</a:t>
            </a:r>
          </a:p>
        </p:txBody>
      </p:sp>
      <p:pic>
        <p:nvPicPr>
          <p:cNvPr id="9" name="Audio 8">
            <a:hlinkClick r:id="" action="ppaction://media"/>
            <a:extLst>
              <a:ext uri="{FF2B5EF4-FFF2-40B4-BE49-F238E27FC236}">
                <a16:creationId xmlns:a16="http://schemas.microsoft.com/office/drawing/2014/main" id="{EA9C6D01-E71C-8E46-8BC2-40799CE34166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178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5943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3073"/>
    </mc:Choice>
    <mc:Fallback>
      <p:transition spd="slow" advTm="1307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CA" sz="1600" dirty="0"/>
              <a:t>THE NEED FOR BIOMASS SUPPLY RISK RATINGS IS INCREAS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60120"/>
            <a:ext cx="8686800" cy="5212080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14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en-US" sz="14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terest in the bio-economy is increasing because of the rising demand for decarbonization of the global economy.</a:t>
            </a:r>
          </a:p>
          <a:p>
            <a:pPr marL="0" indent="0">
              <a:buNone/>
            </a:pPr>
            <a:endParaRPr lang="en-CA" sz="14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CA" sz="1400" dirty="0">
                <a:solidFill>
                  <a:schemeClr val="tx1"/>
                </a:solidFill>
              </a:rPr>
              <a:t>In April 2021, the Glasgow Financial Alliance for Net Zero pledged themselves to the mission of reaching zero emissions by 2050.</a:t>
            </a:r>
          </a:p>
          <a:p>
            <a:r>
              <a:rPr lang="en-CA" sz="1400" dirty="0">
                <a:solidFill>
                  <a:schemeClr val="tx1"/>
                </a:solidFill>
              </a:rPr>
              <a:t>It represents 160 financial firms with $70 trillion of assets</a:t>
            </a:r>
          </a:p>
          <a:p>
            <a:pPr marL="0" indent="0">
              <a:buNone/>
            </a:pPr>
            <a:endParaRPr lang="en-CA" sz="14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CA" sz="1400" dirty="0">
                <a:solidFill>
                  <a:schemeClr val="tx1"/>
                </a:solidFill>
              </a:rPr>
              <a:t>The following leading non-financial firms have also committed to net-zero emissions, all within specific timelines:</a:t>
            </a:r>
          </a:p>
          <a:p>
            <a:r>
              <a:rPr lang="en-CA" sz="1400" dirty="0">
                <a:solidFill>
                  <a:schemeClr val="tx1"/>
                </a:solidFill>
              </a:rPr>
              <a:t>By 2030: Proctor &amp; Gamble, Siemens, Ikea, Microsoft, Unilever</a:t>
            </a:r>
          </a:p>
          <a:p>
            <a:r>
              <a:rPr lang="en-CA" sz="1400" dirty="0">
                <a:solidFill>
                  <a:schemeClr val="tx1"/>
                </a:solidFill>
              </a:rPr>
              <a:t>By 2040: General Motors, Mercedes-Benz, AT&amp;T, Walmart, </a:t>
            </a:r>
            <a:r>
              <a:rPr lang="en-CA" sz="1400" dirty="0" err="1">
                <a:solidFill>
                  <a:schemeClr val="tx1"/>
                </a:solidFill>
              </a:rPr>
              <a:t>Pepsico</a:t>
            </a:r>
            <a:r>
              <a:rPr lang="en-CA" sz="1400" dirty="0">
                <a:solidFill>
                  <a:schemeClr val="tx1"/>
                </a:solidFill>
              </a:rPr>
              <a:t>, Amazon, </a:t>
            </a:r>
          </a:p>
          <a:p>
            <a:r>
              <a:rPr lang="en-CA" sz="1400" dirty="0">
                <a:solidFill>
                  <a:schemeClr val="tx1"/>
                </a:solidFill>
              </a:rPr>
              <a:t>By 2050: Shell, BP, Ford, Michelin, Nestle, Danone, Nike</a:t>
            </a:r>
          </a:p>
          <a:p>
            <a:pPr marL="0" indent="0">
              <a:buNone/>
            </a:pPr>
            <a:endParaRPr lang="en-CA" sz="14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CA" sz="1400" dirty="0">
              <a:solidFill>
                <a:schemeClr val="tx1"/>
              </a:solidFill>
            </a:endParaRPr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633FACB-E57B-4CDC-9F3B-D7F03E444374}" type="slidenum">
              <a:rPr lang="en-US" smtClean="0"/>
              <a:pPr algn="r"/>
              <a:t>9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544416" y="6172200"/>
            <a:ext cx="5227983" cy="351711"/>
          </a:xfrm>
        </p:spPr>
        <p:txBody>
          <a:bodyPr/>
          <a:lstStyle/>
          <a:p>
            <a:r>
              <a:rPr lang="en-CA" dirty="0"/>
              <a:t>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1E6FDF0-1C71-6B4F-A095-CAE8E99C43F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1803" y="5908557"/>
            <a:ext cx="974498" cy="968992"/>
          </a:xfrm>
          <a:prstGeom prst="rect">
            <a:avLst/>
          </a:prstGeom>
        </p:spPr>
      </p:pic>
      <p:pic>
        <p:nvPicPr>
          <p:cNvPr id="9" name="Audio 8">
            <a:hlinkClick r:id="" action="ppaction://media"/>
            <a:extLst>
              <a:ext uri="{FF2B5EF4-FFF2-40B4-BE49-F238E27FC236}">
                <a16:creationId xmlns:a16="http://schemas.microsoft.com/office/drawing/2014/main" id="{E822D31F-2F74-D049-87BD-2ABE51142291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178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921639"/>
      </p:ext>
    </p:extLst>
  </p:cSld>
  <p:clrMapOvr>
    <a:masterClrMapping/>
  </p:clrMapOvr>
  <p:transition advTm="75989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br>
              <a:rPr lang="en-CA" sz="1600" dirty="0"/>
            </a:br>
            <a:r>
              <a:rPr lang="en-CA" sz="1600" dirty="0"/>
              <a:t>3. DOES THE BIO-ECONOMY OFFER UNIQUE INVESTMENT OPPORTUNITES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51906"/>
            <a:ext cx="8686800" cy="5448781"/>
          </a:xfrm>
        </p:spPr>
        <p:txBody>
          <a:bodyPr>
            <a:normAutofit/>
          </a:bodyPr>
          <a:lstStyle/>
          <a:p>
            <a:endParaRPr lang="en-US" sz="18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endParaRPr lang="en-US" sz="16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6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wo pathways for investors to follow: 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16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he transition to a circular bio-economy, with the substitution of low carbon bio-based products for high carbon intensity products; and,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endParaRPr lang="en-US" sz="16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he role of forests and land use in reducing emissions and increasing ‘removals’ of CO2 from the atmosphere – natural climate solutions.</a:t>
            </a:r>
          </a:p>
          <a:p>
            <a:pPr lvl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endParaRPr lang="en-US" sz="16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endParaRPr lang="en-CA" sz="18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CA" sz="1800" dirty="0">
              <a:solidFill>
                <a:schemeClr val="tx1"/>
              </a:solidFill>
            </a:endParaRPr>
          </a:p>
          <a:p>
            <a:pPr lvl="2"/>
            <a:endParaRPr lang="en-CA" dirty="0"/>
          </a:p>
          <a:p>
            <a:pPr marL="914400" lvl="2" indent="0">
              <a:buNone/>
            </a:pP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633FACB-E57B-4CDC-9F3B-D7F03E444374}" type="slidenum">
              <a:rPr lang="en-US" smtClean="0"/>
              <a:pPr algn="r"/>
              <a:t>10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 flipV="1">
            <a:off x="2716696" y="6308035"/>
            <a:ext cx="5055704" cy="92765"/>
          </a:xfrm>
        </p:spPr>
        <p:txBody>
          <a:bodyPr>
            <a:normAutofit fontScale="92500" lnSpcReduction="20000"/>
          </a:bodyPr>
          <a:lstStyle/>
          <a:p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C347ABC-3C9F-E944-8ED3-9F004A6D17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1803" y="5908557"/>
            <a:ext cx="974498" cy="968992"/>
          </a:xfrm>
          <a:prstGeom prst="rect">
            <a:avLst/>
          </a:prstGeom>
        </p:spPr>
      </p:pic>
      <p:pic>
        <p:nvPicPr>
          <p:cNvPr id="9" name="Audio 8">
            <a:hlinkClick r:id="" action="ppaction://media"/>
            <a:extLst>
              <a:ext uri="{FF2B5EF4-FFF2-40B4-BE49-F238E27FC236}">
                <a16:creationId xmlns:a16="http://schemas.microsoft.com/office/drawing/2014/main" id="{FFE24736-E55D-D648-B037-D81046B5014E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178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4865680"/>
      </p:ext>
    </p:extLst>
  </p:cSld>
  <p:clrMapOvr>
    <a:masterClrMapping/>
  </p:clrMapOvr>
  <p:transition advTm="59427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CA" sz="1600" dirty="0"/>
              <a:t>CORPORATE TRANS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60120"/>
            <a:ext cx="8686800" cy="5212080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CA" sz="14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CA" sz="1600" dirty="0">
                <a:solidFill>
                  <a:schemeClr val="tx1"/>
                </a:solidFill>
              </a:rPr>
              <a:t>Case Study: Shell</a:t>
            </a:r>
          </a:p>
          <a:p>
            <a:r>
              <a:rPr lang="en-CA" sz="1600" dirty="0">
                <a:solidFill>
                  <a:schemeClr val="tx1"/>
                </a:solidFill>
              </a:rPr>
              <a:t>Expects to radically transform its product mix over the next 30 years. By 2050, Shell’s mix will be dominated by renewable power, biofuels and hydrogen, with all fossil-based carbon in its operations either captured and stored, offset in nature, or embedded in materials.</a:t>
            </a:r>
          </a:p>
          <a:p>
            <a:r>
              <a:rPr lang="en-CA" sz="1600" dirty="0">
                <a:solidFill>
                  <a:schemeClr val="tx1"/>
                </a:solidFill>
              </a:rPr>
              <a:t>In February 2021, Shell’s Global CEO Ben van </a:t>
            </a:r>
            <a:r>
              <a:rPr lang="en-CA" sz="1600" dirty="0" err="1">
                <a:solidFill>
                  <a:schemeClr val="tx1"/>
                </a:solidFill>
              </a:rPr>
              <a:t>Beurden</a:t>
            </a:r>
            <a:r>
              <a:rPr lang="en-CA" sz="1600" dirty="0">
                <a:solidFill>
                  <a:schemeClr val="tx1"/>
                </a:solidFill>
              </a:rPr>
              <a:t> stated  “</a:t>
            </a:r>
            <a:r>
              <a:rPr lang="en-CA" sz="1600" i="1" dirty="0">
                <a:solidFill>
                  <a:schemeClr val="tx1"/>
                </a:solidFill>
              </a:rPr>
              <a:t>I can imagine us capturing and storing maybe 50 million tonnes a year of carbon dioxide.  I  can imagine us working with nature to lock away maybe 300 million tonnes in forests, in wetlands and soil</a:t>
            </a:r>
            <a:r>
              <a:rPr lang="en-CA" sz="1600" dirty="0">
                <a:solidFill>
                  <a:schemeClr val="tx1"/>
                </a:solidFill>
              </a:rPr>
              <a:t>s”.</a:t>
            </a:r>
          </a:p>
          <a:p>
            <a:pPr marL="0" indent="0">
              <a:buNone/>
            </a:pPr>
            <a:endParaRPr lang="en-CA" sz="16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CA" sz="1600" dirty="0">
                <a:solidFill>
                  <a:schemeClr val="tx1"/>
                </a:solidFill>
              </a:rPr>
              <a:t>Companies like Shell are looking to pursue both the pathways offered by the bio-economy – and at scale.</a:t>
            </a:r>
          </a:p>
          <a:p>
            <a:pPr marL="0" indent="0">
              <a:buNone/>
            </a:pPr>
            <a:endParaRPr lang="en-CA" sz="1400" dirty="0">
              <a:solidFill>
                <a:schemeClr val="tx1"/>
              </a:solidFill>
            </a:endParaRPr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633FACB-E57B-4CDC-9F3B-D7F03E444374}" type="slidenum">
              <a:rPr lang="en-US" smtClean="0"/>
              <a:pPr algn="r"/>
              <a:t>11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544416" y="6172200"/>
            <a:ext cx="5227983" cy="351711"/>
          </a:xfrm>
        </p:spPr>
        <p:txBody>
          <a:bodyPr/>
          <a:lstStyle/>
          <a:p>
            <a:r>
              <a:rPr lang="en-CA" dirty="0"/>
              <a:t>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1E6FDF0-1C71-6B4F-A095-CAE8E99C43F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1803" y="5908557"/>
            <a:ext cx="974498" cy="968992"/>
          </a:xfrm>
          <a:prstGeom prst="rect">
            <a:avLst/>
          </a:prstGeom>
        </p:spPr>
      </p:pic>
      <p:pic>
        <p:nvPicPr>
          <p:cNvPr id="9" name="Audio 8">
            <a:hlinkClick r:id="" action="ppaction://media"/>
            <a:extLst>
              <a:ext uri="{FF2B5EF4-FFF2-40B4-BE49-F238E27FC236}">
                <a16:creationId xmlns:a16="http://schemas.microsoft.com/office/drawing/2014/main" id="{947EEE14-AE7E-F645-93F0-A9E3297910F4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178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01999"/>
      </p:ext>
    </p:extLst>
  </p:cSld>
  <p:clrMapOvr>
    <a:masterClrMapping/>
  </p:clrMapOvr>
  <p:transition advTm="72868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6C952-D862-40C1-87E9-F0EB530830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176" y="466275"/>
            <a:ext cx="8610065" cy="421556"/>
          </a:xfrm>
        </p:spPr>
        <p:txBody>
          <a:bodyPr>
            <a:noAutofit/>
          </a:bodyPr>
          <a:lstStyle/>
          <a:p>
            <a:pPr algn="ctr"/>
            <a:r>
              <a:rPr lang="en-US" sz="1600" b="1" dirty="0">
                <a:ea typeface="Verdana" panose="020B0604030504040204" pitchFamily="34" charset="0"/>
                <a:cs typeface="Verdana" panose="020B0604030504040204" pitchFamily="34" charset="0"/>
              </a:rPr>
              <a:t>THE ROLE OF BIOMASS IN A CIRCULAR ECONOM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ADE297-8A24-4FE7-8E98-123EE1E203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24000" y="6356350"/>
            <a:ext cx="5840288" cy="365125"/>
          </a:xfrm>
        </p:spPr>
        <p:txBody>
          <a:bodyPr/>
          <a:lstStyle/>
          <a:p>
            <a:endParaRPr lang="en-US" dirty="0">
              <a:latin typeface="Gotham Rounded Book" pitchFamily="50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97E521-1E7A-42BB-88A5-664A632AF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640F-CFE1-4BB9-82FF-56F78E496AE8}" type="slidenum">
              <a:rPr lang="en-AU" smtClean="0"/>
              <a:pPr/>
              <a:t>12</a:t>
            </a:fld>
            <a:endParaRPr lang="en-A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3585251-FE62-4D56-9533-0B53218E195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246867" y="1250734"/>
            <a:ext cx="5093308" cy="288479"/>
          </a:xfrm>
        </p:spPr>
        <p:txBody>
          <a:bodyPr>
            <a:noAutofit/>
          </a:bodyPr>
          <a:lstStyle/>
          <a:p>
            <a:r>
              <a:rPr lang="en-US" sz="14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for sustainable, re-usable, recyclable, and renewable materials is rising.</a:t>
            </a:r>
          </a:p>
        </p:txBody>
      </p:sp>
      <p:pic>
        <p:nvPicPr>
          <p:cNvPr id="10" name="Content Placeholder 9" descr="A screenshot of a cell phone&#10;&#10;Description automatically generated">
            <a:extLst>
              <a:ext uri="{FF2B5EF4-FFF2-40B4-BE49-F238E27FC236}">
                <a16:creationId xmlns:a16="http://schemas.microsoft.com/office/drawing/2014/main" id="{C16A0F17-4FD8-4B7F-B538-C3F1AE04D6F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0912" y="1574024"/>
            <a:ext cx="6439088" cy="4096132"/>
          </a:xfr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192B6CF-0AF8-496C-9DC7-6F4D8369141F}"/>
              </a:ext>
            </a:extLst>
          </p:cNvPr>
          <p:cNvSpPr txBox="1"/>
          <p:nvPr/>
        </p:nvSpPr>
        <p:spPr>
          <a:xfrm>
            <a:off x="221918" y="2780928"/>
            <a:ext cx="14347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3">
                    <a:lumMod val="75000"/>
                  </a:schemeClr>
                </a:solidFill>
                <a:latin typeface="Gotham Rounded Book" pitchFamily="50" charset="0"/>
              </a:rPr>
              <a:t>Toward a Circular Bioeconom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8F186A1-269A-4D78-9FC5-092C899CBC52}"/>
              </a:ext>
            </a:extLst>
          </p:cNvPr>
          <p:cNvSpPr txBox="1"/>
          <p:nvPr/>
        </p:nvSpPr>
        <p:spPr>
          <a:xfrm>
            <a:off x="1137782" y="5445224"/>
            <a:ext cx="746168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y comparison the world produces 10b </a:t>
            </a:r>
            <a:r>
              <a:rPr lang="en-US" sz="14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nnes</a:t>
            </a:r>
            <a:r>
              <a:rPr lang="en-US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f concrete,  2b </a:t>
            </a:r>
            <a:r>
              <a:rPr lang="en-US" sz="14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nnes</a:t>
            </a:r>
            <a:r>
              <a:rPr lang="en-US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f steel and 400m </a:t>
            </a:r>
            <a:r>
              <a:rPr lang="en-US" sz="14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nnes</a:t>
            </a:r>
            <a:r>
              <a:rPr lang="en-US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f plastics each year.</a:t>
            </a:r>
            <a:endParaRPr lang="en-US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i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w much of this could be substituted with biomass-based products which have lower carbon intensitie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i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good deal, but it will depend critically on a meaningful price on carbon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4A14A3-7A10-D940-87E6-78596AC2B3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1803" y="5908557"/>
            <a:ext cx="974498" cy="968992"/>
          </a:xfrm>
          <a:prstGeom prst="rect">
            <a:avLst/>
          </a:prstGeom>
        </p:spPr>
      </p:pic>
      <p:pic>
        <p:nvPicPr>
          <p:cNvPr id="9" name="Audio 8">
            <a:hlinkClick r:id="" action="ppaction://media"/>
            <a:extLst>
              <a:ext uri="{FF2B5EF4-FFF2-40B4-BE49-F238E27FC236}">
                <a16:creationId xmlns:a16="http://schemas.microsoft.com/office/drawing/2014/main" id="{64FBA84A-DA63-514E-AE5E-32746122B643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8178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2231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50333"/>
    </mc:Choice>
    <mc:Fallback>
      <p:transition spd="slow" advTm="5033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FAA0FA-77F5-400D-92A7-C573069550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24000" y="6356350"/>
            <a:ext cx="6056312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D82F98-B94E-43F9-8EDE-2702087988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640F-CFE1-4BB9-82FF-56F78E496AE8}" type="slidenum">
              <a:rPr lang="en-AU" smtClean="0"/>
              <a:pPr/>
              <a:t>13</a:t>
            </a:fld>
            <a:endParaRPr lang="en-A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5AAA63-133D-4335-ABE4-E8DEC923FB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4198" y="207279"/>
            <a:ext cx="8229600" cy="562075"/>
          </a:xfrm>
        </p:spPr>
        <p:txBody>
          <a:bodyPr>
            <a:normAutofit/>
          </a:bodyPr>
          <a:lstStyle/>
          <a:p>
            <a:pPr algn="ctr"/>
            <a:r>
              <a:rPr lang="en-US" sz="1600" b="1" dirty="0">
                <a:ea typeface="Verdana" panose="020B0604030504040204" pitchFamily="34" charset="0"/>
                <a:cs typeface="Verdana" panose="020B0604030504040204" pitchFamily="34" charset="0"/>
              </a:rPr>
              <a:t>POTENTIAL FOR NATURAL CLIMATE SOLUTION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506AFF7-3392-4A2C-AFBC-D7D7C41DD4A7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294198" y="850142"/>
            <a:ext cx="7590169" cy="384639"/>
          </a:xfrm>
        </p:spPr>
        <p:txBody>
          <a:bodyPr>
            <a:noAutofit/>
          </a:bodyPr>
          <a:lstStyle/>
          <a:p>
            <a:r>
              <a:rPr lang="en-US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stainable Forestry and Agriculture, conservation and restoration are now seen as central to climate change mitigation</a:t>
            </a: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E93842D0-2143-434F-9A68-CECEED41B7DD}"/>
              </a:ext>
            </a:extLst>
          </p:cNvPr>
          <p:cNvPicPr>
            <a:picLocks noGrp="1" noChangeAspect="1" noChangeArrowheads="1"/>
          </p:cNvPicPr>
          <p:nvPr>
            <p:ph sz="quarter" idx="4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4371618" y="1676491"/>
            <a:ext cx="4584265" cy="3689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34E8BE2-8904-4942-B80B-48953623126C}"/>
              </a:ext>
            </a:extLst>
          </p:cNvPr>
          <p:cNvSpPr txBox="1"/>
          <p:nvPr/>
        </p:nvSpPr>
        <p:spPr>
          <a:xfrm>
            <a:off x="661736" y="1484784"/>
            <a:ext cx="3838255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forestation, degradation of ecosystems, and agriculture represent ~25% of global emission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is represents ~10b </a:t>
            </a:r>
            <a:r>
              <a:rPr lang="en-US" sz="16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nnes</a:t>
            </a:r>
            <a: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f CO2 equivalent per annum—</a:t>
            </a:r>
            <a:r>
              <a:rPr lang="en-US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large number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storation and sustainable forestry and agriculture can also absorb CO2 in vegetation, soils and peatlands—goals of several billion </a:t>
            </a:r>
            <a:r>
              <a:rPr lang="en-US" sz="16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nnes</a:t>
            </a:r>
            <a: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er annum by mid-centur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DBF8E19-F39B-4741-B41F-1EFB0F235D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1803" y="5908557"/>
            <a:ext cx="974498" cy="968992"/>
          </a:xfrm>
          <a:prstGeom prst="rect">
            <a:avLst/>
          </a:prstGeom>
        </p:spPr>
      </p:pic>
      <p:pic>
        <p:nvPicPr>
          <p:cNvPr id="7" name="Audio 6">
            <a:hlinkClick r:id="" action="ppaction://media"/>
            <a:extLst>
              <a:ext uri="{FF2B5EF4-FFF2-40B4-BE49-F238E27FC236}">
                <a16:creationId xmlns:a16="http://schemas.microsoft.com/office/drawing/2014/main" id="{0FEEA765-625F-9F47-B759-C2D14245DC00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8178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3807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6217"/>
    </mc:Choice>
    <mc:Fallback>
      <p:transition spd="slow" advTm="3621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46" y="0"/>
            <a:ext cx="8229600" cy="1143000"/>
          </a:xfrm>
        </p:spPr>
        <p:txBody>
          <a:bodyPr>
            <a:normAutofit/>
          </a:bodyPr>
          <a:lstStyle/>
          <a:p>
            <a:pPr algn="ctr"/>
            <a:r>
              <a:rPr lang="en-CA" sz="1600" dirty="0"/>
              <a:t>CHALLENGES FOR NATURAL CLIMATE SOLU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60120"/>
            <a:ext cx="8686800" cy="5920182"/>
          </a:xfrm>
        </p:spPr>
        <p:txBody>
          <a:bodyPr>
            <a:normAutofit/>
          </a:bodyPr>
          <a:lstStyle/>
          <a:p>
            <a:r>
              <a:rPr lang="en-CA" sz="1400" dirty="0">
                <a:solidFill>
                  <a:schemeClr val="tx1"/>
                </a:solidFill>
              </a:rPr>
              <a:t>The demand for projects offering attractive nature-based climate solutions is arguably much greater than the supply of such projects.</a:t>
            </a:r>
          </a:p>
          <a:p>
            <a:r>
              <a:rPr lang="en-CA" sz="1400" dirty="0">
                <a:solidFill>
                  <a:schemeClr val="tx1"/>
                </a:solidFill>
              </a:rPr>
              <a:t>The supply of suitable land that is available is a binding constraint, and getting nature-based climate solution projects at scale is a challenge. </a:t>
            </a:r>
          </a:p>
          <a:p>
            <a:r>
              <a:rPr lang="en-CA" sz="1400" dirty="0">
                <a:solidFill>
                  <a:schemeClr val="tx1"/>
                </a:solidFill>
              </a:rPr>
              <a:t>Despite growing interest and support for nature-based solutions to mitigate climate change, few countries have developed the legal and regulatory frameworks needed to ensure fair and transparent transactions in carbon offsets trading.</a:t>
            </a:r>
          </a:p>
          <a:p>
            <a:pPr lvl="1"/>
            <a:r>
              <a:rPr lang="en-CA" sz="1400" dirty="0"/>
              <a:t>These nature-based solution will largely be implemented in some of the poorest and most biodiverse regions of the world, and mostly on lands held by Indigenous Peoples and local communities.</a:t>
            </a:r>
          </a:p>
          <a:p>
            <a:pPr lvl="1"/>
            <a:r>
              <a:rPr lang="en-CA" sz="1400" dirty="0">
                <a:solidFill>
                  <a:schemeClr val="tx1"/>
                </a:solidFill>
              </a:rPr>
              <a:t>Failure to adequately recognize community rights to carbon and their role in the realization of global climate ambitions poses a fundamental risk to the pursuit of nature-based solutions on the basis of equity, and in the context of sustainable development and poverty eradication as called for by the Paris Agreement</a:t>
            </a:r>
          </a:p>
          <a:p>
            <a:pPr lvl="1"/>
            <a:r>
              <a:rPr lang="en-CA" sz="1400" dirty="0"/>
              <a:t>The BSCR Standard discussed earlier has a Social Risk factor in its  Supply Chain Risk Category, but it arguably needs to be further refined to adequately reflect the above risks.</a:t>
            </a:r>
            <a:endParaRPr lang="en-CA" sz="1400" dirty="0">
              <a:solidFill>
                <a:schemeClr val="tx1"/>
              </a:solidFill>
            </a:endParaRPr>
          </a:p>
          <a:p>
            <a:pPr lvl="1"/>
            <a:r>
              <a:rPr lang="en-CA" sz="1400" dirty="0">
                <a:solidFill>
                  <a:schemeClr val="tx1"/>
                </a:solidFill>
              </a:rPr>
              <a:t>Organizations like </a:t>
            </a:r>
            <a:r>
              <a:rPr lang="en-CA" sz="1400" i="1" dirty="0">
                <a:solidFill>
                  <a:schemeClr val="tx1"/>
                </a:solidFill>
              </a:rPr>
              <a:t>The Nature Conservancy, Architecture for REDD+ Transactions (ART) and Rights &amp; Resources Initiative </a:t>
            </a:r>
            <a:r>
              <a:rPr lang="en-CA" sz="1400" dirty="0">
                <a:solidFill>
                  <a:schemeClr val="tx1"/>
                </a:solidFill>
              </a:rPr>
              <a:t>are working to ensure that nature-based climate projects are appropriately implemented.</a:t>
            </a:r>
          </a:p>
          <a:p>
            <a:pPr lvl="1"/>
            <a:endParaRPr lang="en-CA" sz="1400" dirty="0">
              <a:solidFill>
                <a:schemeClr val="tx1"/>
              </a:solidFill>
            </a:endParaRPr>
          </a:p>
          <a:p>
            <a:endParaRPr lang="en-CA" sz="1400" dirty="0">
              <a:solidFill>
                <a:schemeClr val="tx1"/>
              </a:solidFill>
            </a:endParaRPr>
          </a:p>
          <a:p>
            <a:pPr lvl="1"/>
            <a:endParaRPr lang="en-CA" sz="1400" dirty="0">
              <a:solidFill>
                <a:schemeClr val="tx1"/>
              </a:solidFill>
            </a:endParaRPr>
          </a:p>
          <a:p>
            <a:endParaRPr lang="en-CA" sz="1400" dirty="0">
              <a:solidFill>
                <a:schemeClr val="tx1"/>
              </a:solidFill>
            </a:endParaRPr>
          </a:p>
          <a:p>
            <a:endParaRPr lang="en-CA" sz="14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CA" sz="1400" dirty="0">
              <a:solidFill>
                <a:schemeClr val="tx1"/>
              </a:solidFill>
            </a:endParaRPr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633FACB-E57B-4CDC-9F3B-D7F03E444374}" type="slidenum">
              <a:rPr lang="en-US" smtClean="0"/>
              <a:pPr algn="r"/>
              <a:t>14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544416" y="6172200"/>
            <a:ext cx="5227983" cy="351711"/>
          </a:xfrm>
        </p:spPr>
        <p:txBody>
          <a:bodyPr/>
          <a:lstStyle/>
          <a:p>
            <a:r>
              <a:rPr lang="en-CA" dirty="0"/>
              <a:t>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1E6FDF0-1C71-6B4F-A095-CAE8E99C43F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1803" y="5908557"/>
            <a:ext cx="974498" cy="968992"/>
          </a:xfrm>
          <a:prstGeom prst="rect">
            <a:avLst/>
          </a:prstGeom>
        </p:spPr>
      </p:pic>
      <p:pic>
        <p:nvPicPr>
          <p:cNvPr id="9" name="Audio 8">
            <a:hlinkClick r:id="" action="ppaction://media"/>
            <a:extLst>
              <a:ext uri="{FF2B5EF4-FFF2-40B4-BE49-F238E27FC236}">
                <a16:creationId xmlns:a16="http://schemas.microsoft.com/office/drawing/2014/main" id="{45704C67-C1CF-EC40-AC49-13694B1911B0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178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514483"/>
      </p:ext>
    </p:extLst>
  </p:cSld>
  <p:clrMapOvr>
    <a:masterClrMapping/>
  </p:clrMapOvr>
  <p:transition advTm="8870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CA" sz="1600" dirty="0"/>
              <a:t>	THREE KEY CONCLUSION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60120"/>
            <a:ext cx="8686800" cy="5161900"/>
          </a:xfrm>
        </p:spPr>
        <p:txBody>
          <a:bodyPr>
            <a:normAutofit/>
          </a:bodyPr>
          <a:lstStyle/>
          <a:p>
            <a:pPr>
              <a:buFont typeface="+mj-lt"/>
              <a:buAutoNum type="arabicPeriod"/>
            </a:pPr>
            <a:endParaRPr lang="en-CA" sz="1600" dirty="0">
              <a:solidFill>
                <a:schemeClr val="tx1"/>
              </a:solidFill>
            </a:endParaRPr>
          </a:p>
          <a:p>
            <a:pPr>
              <a:buFont typeface="+mj-lt"/>
              <a:buAutoNum type="arabicPeriod"/>
            </a:pPr>
            <a:r>
              <a:rPr lang="en-CA" sz="1600" dirty="0">
                <a:solidFill>
                  <a:schemeClr val="tx1"/>
                </a:solidFill>
              </a:rPr>
              <a:t>It is not clear whether the financial sector is paying too little or too much attention to opportunities in the bio-economy.</a:t>
            </a:r>
          </a:p>
          <a:p>
            <a:pPr>
              <a:buFont typeface="+mj-lt"/>
              <a:buAutoNum type="arabicPeriod"/>
            </a:pPr>
            <a:endParaRPr lang="en-CA" sz="1600" dirty="0">
              <a:solidFill>
                <a:schemeClr val="tx1"/>
              </a:solidFill>
            </a:endParaRPr>
          </a:p>
          <a:p>
            <a:pPr>
              <a:buFont typeface="+mj-lt"/>
              <a:buAutoNum type="arabicPeriod"/>
            </a:pPr>
            <a:r>
              <a:rPr lang="en-CA" sz="1600" dirty="0">
                <a:solidFill>
                  <a:schemeClr val="tx1"/>
                </a:solidFill>
              </a:rPr>
              <a:t>It is clear that investment opportunities in the bio-economy are often quite complex to analyze, and this is a barrier to financing. One new tool to reduce the complexity is </a:t>
            </a:r>
            <a:r>
              <a:rPr lang="en-CA" sz="16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Biomass Supply Credit Rating (BSCR) Standards.</a:t>
            </a:r>
            <a:endParaRPr lang="en-CA" sz="1600" dirty="0">
              <a:solidFill>
                <a:schemeClr val="tx1"/>
              </a:solidFill>
            </a:endParaRPr>
          </a:p>
          <a:p>
            <a:pPr>
              <a:buFont typeface="+mj-lt"/>
              <a:buAutoNum type="arabicPeriod"/>
            </a:pPr>
            <a:endParaRPr lang="en-CA" sz="1600" dirty="0">
              <a:solidFill>
                <a:schemeClr val="tx1"/>
              </a:solidFill>
            </a:endParaRPr>
          </a:p>
          <a:p>
            <a:pPr>
              <a:buFont typeface="+mj-lt"/>
              <a:buAutoNum type="arabicPeriod"/>
            </a:pPr>
            <a:r>
              <a:rPr lang="en-CA" sz="1600" dirty="0">
                <a:solidFill>
                  <a:schemeClr val="tx1"/>
                </a:solidFill>
              </a:rPr>
              <a:t>The bio-economy does offer unique investment opportunities.  Nature-based climate solutions are one set of opportunities, and they are generating excitement among investors.  However, the demand for such projects is likely to significantly exceed the supply.</a:t>
            </a:r>
          </a:p>
          <a:p>
            <a:pPr marL="0" indent="0">
              <a:buNone/>
            </a:pP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633FACB-E57B-4CDC-9F3B-D7F03E444374}" type="slidenum">
              <a:rPr lang="en-US" smtClean="0"/>
              <a:pPr algn="r"/>
              <a:t>15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987826" y="6122020"/>
            <a:ext cx="5784574" cy="401891"/>
          </a:xfrm>
        </p:spPr>
        <p:txBody>
          <a:bodyPr/>
          <a:lstStyle/>
          <a:p>
            <a:r>
              <a:rPr lang="en-CA" dirty="0"/>
              <a:t>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0A352B1-320C-9643-AD84-3B9E2DDF7B2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1803" y="5908557"/>
            <a:ext cx="974498" cy="968992"/>
          </a:xfrm>
          <a:prstGeom prst="rect">
            <a:avLst/>
          </a:prstGeom>
        </p:spPr>
      </p:pic>
      <p:pic>
        <p:nvPicPr>
          <p:cNvPr id="9" name="Audio 8">
            <a:hlinkClick r:id="" action="ppaction://media"/>
            <a:extLst>
              <a:ext uri="{FF2B5EF4-FFF2-40B4-BE49-F238E27FC236}">
                <a16:creationId xmlns:a16="http://schemas.microsoft.com/office/drawing/2014/main" id="{7EDF718C-8E8A-C04A-8EB9-17D532C257C2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178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36593"/>
      </p:ext>
    </p:extLst>
  </p:cSld>
  <p:clrMapOvr>
    <a:masterClrMapping/>
  </p:clrMapOvr>
  <p:transition advTm="79628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CA" sz="1600" dirty="0"/>
              <a:t>	THREE KEY QUESTION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60120"/>
            <a:ext cx="8686800" cy="5161900"/>
          </a:xfrm>
        </p:spPr>
        <p:txBody>
          <a:bodyPr>
            <a:normAutofit/>
          </a:bodyPr>
          <a:lstStyle/>
          <a:p>
            <a:pPr>
              <a:buFont typeface="+mj-lt"/>
              <a:buAutoNum type="arabicPeriod"/>
            </a:pPr>
            <a:endParaRPr lang="en-CA" sz="1600" dirty="0">
              <a:solidFill>
                <a:schemeClr val="tx1"/>
              </a:solidFill>
            </a:endParaRPr>
          </a:p>
          <a:p>
            <a:endParaRPr lang="en-US" sz="16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1600" dirty="0">
                <a:solidFill>
                  <a:schemeClr val="tx1"/>
                </a:solidFill>
              </a:rPr>
              <a:t>With respect to the bio-economy:</a:t>
            </a:r>
          </a:p>
          <a:p>
            <a:endParaRPr lang="en-US" sz="1600" dirty="0">
              <a:solidFill>
                <a:schemeClr val="tx1"/>
              </a:solidFill>
            </a:endParaRPr>
          </a:p>
          <a:p>
            <a:pPr>
              <a:buFont typeface="+mj-lt"/>
              <a:buAutoNum type="arabicPeriod"/>
            </a:pPr>
            <a:r>
              <a:rPr lang="en-CA" sz="1600" dirty="0">
                <a:solidFill>
                  <a:schemeClr val="tx1"/>
                </a:solidFill>
              </a:rPr>
              <a:t>Is the financial sector paying sufficient attention? </a:t>
            </a:r>
          </a:p>
          <a:p>
            <a:pPr>
              <a:buFont typeface="+mj-lt"/>
              <a:buAutoNum type="arabicPeriod"/>
            </a:pPr>
            <a:endParaRPr lang="en-CA" sz="1600" dirty="0">
              <a:solidFill>
                <a:schemeClr val="tx1"/>
              </a:solidFill>
            </a:endParaRPr>
          </a:p>
          <a:p>
            <a:pPr>
              <a:buFont typeface="+mj-lt"/>
              <a:buAutoNum type="arabicPeriod"/>
            </a:pPr>
            <a:r>
              <a:rPr lang="en-CA" sz="1600" dirty="0">
                <a:solidFill>
                  <a:schemeClr val="tx1"/>
                </a:solidFill>
              </a:rPr>
              <a:t>How can we reduce its complexity for investors? </a:t>
            </a:r>
          </a:p>
          <a:p>
            <a:pPr>
              <a:buFont typeface="+mj-lt"/>
              <a:buAutoNum type="arabicPeriod"/>
            </a:pPr>
            <a:endParaRPr lang="en-CA" sz="1600" dirty="0">
              <a:solidFill>
                <a:schemeClr val="tx1"/>
              </a:solidFill>
            </a:endParaRPr>
          </a:p>
          <a:p>
            <a:pPr>
              <a:buFont typeface="+mj-lt"/>
              <a:buAutoNum type="arabicPeriod"/>
            </a:pPr>
            <a:r>
              <a:rPr lang="en-CA" sz="1600" dirty="0">
                <a:solidFill>
                  <a:schemeClr val="tx1"/>
                </a:solidFill>
              </a:rPr>
              <a:t>Does it offer unique investment opportunities? </a:t>
            </a:r>
          </a:p>
          <a:p>
            <a:pPr marL="0" indent="0">
              <a:buNone/>
            </a:pPr>
            <a:endParaRPr lang="en-CA" sz="16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633FACB-E57B-4CDC-9F3B-D7F03E444374}" type="slidenum">
              <a:rPr lang="en-US" smtClean="0"/>
              <a:pPr algn="r"/>
              <a:t>1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987826" y="6122020"/>
            <a:ext cx="5784574" cy="401891"/>
          </a:xfrm>
        </p:spPr>
        <p:txBody>
          <a:bodyPr/>
          <a:lstStyle/>
          <a:p>
            <a:r>
              <a:rPr lang="en-CA" dirty="0"/>
              <a:t>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0A352B1-320C-9643-AD84-3B9E2DDF7B2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1803" y="5908557"/>
            <a:ext cx="974498" cy="968992"/>
          </a:xfrm>
          <a:prstGeom prst="rect">
            <a:avLst/>
          </a:prstGeom>
        </p:spPr>
      </p:pic>
      <p:pic>
        <p:nvPicPr>
          <p:cNvPr id="9" name="Audio 8">
            <a:hlinkClick r:id="" action="ppaction://media"/>
            <a:extLst>
              <a:ext uri="{FF2B5EF4-FFF2-40B4-BE49-F238E27FC236}">
                <a16:creationId xmlns:a16="http://schemas.microsoft.com/office/drawing/2014/main" id="{12592ECB-7A34-8A46-ABB6-3D11A6C26E2D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178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366071"/>
      </p:ext>
    </p:extLst>
  </p:cSld>
  <p:clrMapOvr>
    <a:masterClrMapping/>
  </p:clrMapOvr>
  <p:transition advTm="22486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CA" sz="1600" dirty="0"/>
              <a:t>1. DOES THE BIO-ECONOMY GET ENOUGH ATTENTION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-9050" y="1059142"/>
            <a:ext cx="8927432" cy="5248893"/>
          </a:xfrm>
        </p:spPr>
        <p:txBody>
          <a:bodyPr>
            <a:normAutofit fontScale="85000" lnSpcReduction="20000"/>
          </a:bodyPr>
          <a:lstStyle/>
          <a:p>
            <a:pPr lvl="1">
              <a:buFont typeface="Arial" panose="020B0604020202020204" pitchFamily="34" charset="0"/>
              <a:buChar char="•"/>
            </a:pPr>
            <a:r>
              <a:rPr lang="en-CA" sz="1600" dirty="0"/>
              <a:t>Are the institutions which are involved in green and sustainable finance sufficiently considering bioenergy and bio-economy projects in their portfolios?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CA" sz="16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CA" sz="1600" dirty="0"/>
              <a:t>It depends.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CA" sz="1600" dirty="0"/>
          </a:p>
          <a:p>
            <a:pPr lvl="2"/>
            <a:r>
              <a:rPr lang="en-CA" sz="1600" dirty="0"/>
              <a:t>In some cases the bio-economy offers unique opportunities to investors, and in others it does not.  (We explore some of the unique opportunities later.)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CA" sz="1600" dirty="0"/>
          </a:p>
          <a:p>
            <a:pPr lvl="2"/>
            <a:r>
              <a:rPr lang="en-CA" sz="1600" dirty="0"/>
              <a:t>Within the electricity sector, bio-power makes the most sense in the context of Combined Heat &amp; Power (CHP) projects which have access to an abundance of low cost biomass.  However, in most places stand-alone bio-power plants have a difficult time competing against other sources of green electrons (</a:t>
            </a:r>
            <a:r>
              <a:rPr lang="en-CA" sz="1600" dirty="0" err="1"/>
              <a:t>eg.</a:t>
            </a:r>
            <a:r>
              <a:rPr lang="en-CA" sz="1600" dirty="0"/>
              <a:t>, solar, wind, hydro) – the fundamental business case is often weak.  As a result, wood pellet plants targeting power generation may also be questionable long-term investments.</a:t>
            </a:r>
          </a:p>
          <a:p>
            <a:pPr lvl="2"/>
            <a:endParaRPr lang="en-CA" sz="1600" dirty="0"/>
          </a:p>
          <a:p>
            <a:pPr lvl="2"/>
            <a:r>
              <a:rPr lang="en-CA" sz="1600" dirty="0"/>
              <a:t>Biomass-based projects are often more complex than other “</a:t>
            </a:r>
            <a:r>
              <a:rPr lang="en-CA" sz="1600" i="1" dirty="0"/>
              <a:t>clean investments”.  </a:t>
            </a:r>
          </a:p>
          <a:p>
            <a:pPr lvl="3"/>
            <a:r>
              <a:rPr lang="en-CA" sz="1600" dirty="0"/>
              <a:t>Feedstock risk is unique to such projects, with a general lack of transparency in biomass markets.  This is particularly relevant since the delivered cost of biomass is often over 40% of a plant’s variable cost.</a:t>
            </a:r>
          </a:p>
          <a:p>
            <a:pPr lvl="3"/>
            <a:r>
              <a:rPr lang="en-CA" sz="1600" dirty="0"/>
              <a:t>It is important to distinguish between the physical and economic supply of biomass, and this requires good data and analysis.</a:t>
            </a:r>
          </a:p>
          <a:p>
            <a:pPr marL="914400" lvl="2" indent="0">
              <a:buNone/>
            </a:pPr>
            <a:endParaRPr lang="en-CA" sz="1600" dirty="0"/>
          </a:p>
          <a:p>
            <a:pPr marL="914400" lvl="2" indent="0">
              <a:buNone/>
            </a:pPr>
            <a:r>
              <a:rPr lang="en-CA" sz="1600" dirty="0"/>
              <a:t>How can we reduce the complexity of investments in biomass-based projects so financial institutions will be more engaged?</a:t>
            </a:r>
          </a:p>
          <a:p>
            <a:pPr lvl="2"/>
            <a:endParaRPr lang="en-CA" sz="1500" i="1" dirty="0"/>
          </a:p>
          <a:p>
            <a:pPr lvl="2"/>
            <a:endParaRPr lang="en-CA" sz="1500" dirty="0"/>
          </a:p>
          <a:p>
            <a:pPr lvl="2"/>
            <a:endParaRPr lang="en-CA" dirty="0"/>
          </a:p>
          <a:p>
            <a:pPr lvl="2"/>
            <a:endParaRPr lang="en-CA" dirty="0"/>
          </a:p>
          <a:p>
            <a:pPr marL="914400" lvl="2" indent="0">
              <a:buNone/>
            </a:pP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E633FACB-E57B-4CDC-9F3B-D7F03E444374}" type="slidenum">
              <a:rPr lang="en-US" smtClean="0"/>
              <a:pPr algn="r"/>
              <a:t>2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 flipV="1">
            <a:off x="2716696" y="6308035"/>
            <a:ext cx="5055704" cy="92765"/>
          </a:xfrm>
        </p:spPr>
        <p:txBody>
          <a:bodyPr>
            <a:normAutofit fontScale="92500" lnSpcReduction="20000"/>
          </a:bodyPr>
          <a:lstStyle/>
          <a:p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C347ABC-3C9F-E944-8ED3-9F004A6D17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1803" y="5908557"/>
            <a:ext cx="974498" cy="968992"/>
          </a:xfrm>
          <a:prstGeom prst="rect">
            <a:avLst/>
          </a:prstGeom>
        </p:spPr>
      </p:pic>
      <p:pic>
        <p:nvPicPr>
          <p:cNvPr id="9" name="Audio 8">
            <a:hlinkClick r:id="" action="ppaction://media"/>
            <a:extLst>
              <a:ext uri="{FF2B5EF4-FFF2-40B4-BE49-F238E27FC236}">
                <a16:creationId xmlns:a16="http://schemas.microsoft.com/office/drawing/2014/main" id="{751A3C89-927B-6E4D-9581-6B353FCAC648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178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385661"/>
      </p:ext>
    </p:extLst>
  </p:cSld>
  <p:clrMapOvr>
    <a:masterClrMapping/>
  </p:clrMapOvr>
  <p:transition advTm="73158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 bwMode="auto">
          <a:xfrm>
            <a:off x="475446" y="645325"/>
            <a:ext cx="8433749" cy="6206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9pPr>
          </a:lstStyle>
          <a:p>
            <a:pPr algn="l">
              <a:defRPr/>
            </a:pPr>
            <a:endParaRPr lang="en-US" altLang="en-US" sz="1400" b="1" kern="0" dirty="0"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r">
              <a:defRPr/>
            </a:pPr>
            <a:endParaRPr lang="en-US" altLang="en-US" sz="1400" b="1" kern="0" dirty="0"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r>
              <a:rPr lang="en-US" altLang="en-US" sz="1600" b="1" kern="0" dirty="0"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. HOW CAN WE REDUCE THE COMPLEXITY FOR INVESTORS?</a:t>
            </a:r>
          </a:p>
          <a:p>
            <a:pPr algn="l">
              <a:defRPr/>
            </a:pPr>
            <a:endParaRPr lang="en-US" altLang="en-US" sz="1400" b="1" kern="0" dirty="0"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l">
              <a:defRPr/>
            </a:pPr>
            <a:endParaRPr lang="en-US" altLang="en-US" sz="1400" b="1" kern="0" dirty="0"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l">
              <a:defRPr/>
            </a:pPr>
            <a:endParaRPr lang="en-US" altLang="en-US" sz="1400" b="1" kern="0" dirty="0"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l">
              <a:defRPr/>
            </a:pPr>
            <a:endParaRPr lang="en-US" altLang="en-US" sz="1400" b="1" kern="0" dirty="0"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l">
              <a:defRPr/>
            </a:pPr>
            <a:r>
              <a:rPr lang="en-US" altLang="en-US" sz="1400" kern="0" dirty="0"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edit Risk Rating Systems Move over $9.5 Trillion annually. </a:t>
            </a:r>
          </a:p>
          <a:p>
            <a:pPr marL="285750" indent="-285750" algn="l">
              <a:buFont typeface="Arial" panose="020B0604020202020204" pitchFamily="34" charset="0"/>
              <a:buChar char="•"/>
              <a:defRPr/>
            </a:pPr>
            <a:r>
              <a:rPr lang="en-US" altLang="en-US" sz="1400" kern="0" dirty="0"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2.8M ratings each year demonstrate the value of a standardized approach to evaluating biomass investment risk</a:t>
            </a:r>
            <a:endParaRPr lang="en-US" altLang="en-US" sz="1200" kern="0" dirty="0"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3D5DAAE-89DC-4C9D-9D79-B1491863F197}"/>
              </a:ext>
            </a:extLst>
          </p:cNvPr>
          <p:cNvSpPr/>
          <p:nvPr/>
        </p:nvSpPr>
        <p:spPr>
          <a:xfrm>
            <a:off x="702239" y="3568195"/>
            <a:ext cx="7512046" cy="35240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buClr>
                <a:schemeClr val="accent6">
                  <a:lumMod val="75000"/>
                </a:schemeClr>
              </a:buClr>
              <a:buSzPct val="110000"/>
              <a:defRPr/>
            </a:pPr>
            <a:r>
              <a:rPr lang="en-CA" sz="1200" dirty="0">
                <a:latin typeface="Calibri" panose="020F0502020204030204" pitchFamily="34" charset="0"/>
              </a:rPr>
              <a:t>	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edit Ratings enable massive efficiencies for the capital markets</a:t>
            </a:r>
            <a:r>
              <a:rPr lang="en-CA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  <a:r>
              <a:rPr lang="en-CA" sz="14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t we don’t have anything like this to facilitate biomass-based investment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A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pplication of a rules-based, standardized approach to quantifying risk is a proven way of reducing investors perceptions of risk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CA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iomass Supply Credit Rating (BSCR) Standards </a:t>
            </a:r>
            <a:r>
              <a:rPr lang="en-CA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eate similar efficiencies </a:t>
            </a: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y simplifying and de-risking </a:t>
            </a:r>
            <a:r>
              <a:rPr lang="en-CA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vestment into biofuel, biochemical and bio-material projects.</a:t>
            </a:r>
          </a:p>
          <a:p>
            <a:pPr marL="214318" indent="-214318">
              <a:buFont typeface="Wingdings" panose="05000000000000000000" pitchFamily="2" charset="2"/>
              <a:buChar char="Ø"/>
            </a:pPr>
            <a:endParaRPr lang="en-CA" sz="14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14318" indent="-214318">
              <a:buFont typeface="Wingdings" panose="05000000000000000000" pitchFamily="2" charset="2"/>
              <a:buChar char="Ø"/>
            </a:pPr>
            <a:endParaRPr lang="en-CA" sz="14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14318" indent="-214318">
              <a:buFont typeface="Wingdings" panose="05000000000000000000" pitchFamily="2" charset="2"/>
              <a:buChar char="Ø"/>
            </a:pPr>
            <a:endParaRPr lang="en-CA" sz="14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214318" indent="-214318">
              <a:buFont typeface="Wingdings" panose="05000000000000000000" pitchFamily="2" charset="2"/>
              <a:buChar char="Ø"/>
            </a:pPr>
            <a:endParaRPr lang="en-CA" sz="1400" dirty="0"/>
          </a:p>
          <a:p>
            <a:endParaRPr lang="en-CA" sz="1400" dirty="0"/>
          </a:p>
          <a:p>
            <a:pPr marL="214318" indent="-214318">
              <a:buFont typeface="Wingdings" panose="05000000000000000000" pitchFamily="2" charset="2"/>
              <a:buChar char="Ø"/>
            </a:pPr>
            <a:endParaRPr lang="en-CA" sz="800" dirty="0"/>
          </a:p>
          <a:p>
            <a:endParaRPr lang="en-CA" sz="7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36E8AF9-C1B2-4B85-A97C-F3BB8282A8C6}"/>
              </a:ext>
            </a:extLst>
          </p:cNvPr>
          <p:cNvSpPr/>
          <p:nvPr/>
        </p:nvSpPr>
        <p:spPr>
          <a:xfrm>
            <a:off x="685805" y="5277477"/>
            <a:ext cx="8839189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buClr>
                <a:schemeClr val="accent6">
                  <a:lumMod val="75000"/>
                </a:schemeClr>
              </a:buClr>
              <a:buSzPct val="110000"/>
              <a:defRPr/>
            </a:pPr>
            <a:endParaRPr lang="en-CA" sz="2400" i="1" dirty="0">
              <a:latin typeface="Calibri" panose="020F0502020204030204" pitchFamily="34" charset="0"/>
            </a:endParaRPr>
          </a:p>
          <a:p>
            <a:pPr marL="0" lvl="1">
              <a:buClr>
                <a:schemeClr val="accent6">
                  <a:lumMod val="75000"/>
                </a:schemeClr>
              </a:buClr>
              <a:buSzPct val="110000"/>
              <a:defRPr/>
            </a:pPr>
            <a:endParaRPr lang="en-CA" sz="2400" i="1" dirty="0">
              <a:latin typeface="Calibri" panose="020F0502020204030204" pitchFamily="34" charset="0"/>
            </a:endParaRPr>
          </a:p>
          <a:p>
            <a:pPr marL="0" lvl="1">
              <a:buClr>
                <a:schemeClr val="accent6">
                  <a:lumMod val="75000"/>
                </a:schemeClr>
              </a:buClr>
              <a:buSzPct val="110000"/>
              <a:defRPr/>
            </a:pPr>
            <a:endParaRPr lang="en-CA" sz="2000" i="1" dirty="0">
              <a:latin typeface="Calibri" panose="020F0502020204030204" pitchFamily="34" charset="0"/>
            </a:endParaRPr>
          </a:p>
          <a:p>
            <a:pPr marL="0" lvl="1">
              <a:buClr>
                <a:schemeClr val="accent6">
                  <a:lumMod val="75000"/>
                </a:schemeClr>
              </a:buClr>
              <a:buSzPct val="110000"/>
              <a:defRPr/>
            </a:pPr>
            <a:endParaRPr lang="en-CA" sz="2000" i="1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AC2716D-0ABB-42B9-8D88-185916E556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5804" y="2120623"/>
            <a:ext cx="6705600" cy="1402845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58472F8D-467F-4A1E-A5FB-B66D6B06C8FA}"/>
              </a:ext>
            </a:extLst>
          </p:cNvPr>
          <p:cNvSpPr/>
          <p:nvPr/>
        </p:nvSpPr>
        <p:spPr>
          <a:xfrm>
            <a:off x="6553201" y="3221735"/>
            <a:ext cx="1000317" cy="34646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5BD4AA2-869C-4033-BFDE-BF5E41BDF70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83777" y="5717212"/>
            <a:ext cx="790575" cy="18859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4A118B-D321-2747-B7F8-8348954F62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1803" y="5908557"/>
            <a:ext cx="974498" cy="968992"/>
          </a:xfrm>
          <a:prstGeom prst="rect">
            <a:avLst/>
          </a:prstGeom>
        </p:spPr>
      </p:pic>
      <p:pic>
        <p:nvPicPr>
          <p:cNvPr id="4" name="Audio 3">
            <a:hlinkClick r:id="" action="ppaction://media"/>
            <a:extLst>
              <a:ext uri="{FF2B5EF4-FFF2-40B4-BE49-F238E27FC236}">
                <a16:creationId xmlns:a16="http://schemas.microsoft.com/office/drawing/2014/main" id="{A2FF25D4-CD39-F249-8D3C-3DC962E9E186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8178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9054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8921"/>
    </mc:Choice>
    <mc:Fallback>
      <p:transition spd="slow" advTm="6892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E0778C2-148C-459B-BCC0-FF7C760571F7}"/>
              </a:ext>
            </a:extLst>
          </p:cNvPr>
          <p:cNvSpPr/>
          <p:nvPr/>
        </p:nvSpPr>
        <p:spPr>
          <a:xfrm>
            <a:off x="615181" y="1617020"/>
            <a:ext cx="5861819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$5MM funded by the federal governments of Canada and the U.S.A.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 years of development by Ecostrat, Canmet, Los Alamos and Idaho National Labs, 150-member industry stakeholder group, and 60 member, $60+B capital market review committee, and 14 person Advisory Group (of which I am a member)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credited </a:t>
            </a:r>
            <a:r>
              <a:rPr lang="en-CA" sz="1400" i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tional Standard of Canada </a:t>
            </a:r>
            <a:r>
              <a:rPr lang="en-CA" sz="14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 Q1 2021 by CSA and SCC. ANSI accreditation in the US in 2021/2022. </a:t>
            </a:r>
            <a:endParaRPr lang="en-CA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C54BAAA-0355-4DE0-A372-388841462951}"/>
              </a:ext>
            </a:extLst>
          </p:cNvPr>
          <p:cNvCxnSpPr>
            <a:cxnSpLocks/>
          </p:cNvCxnSpPr>
          <p:nvPr/>
        </p:nvCxnSpPr>
        <p:spPr>
          <a:xfrm>
            <a:off x="10134600" y="4419600"/>
            <a:ext cx="0" cy="42672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E04ED593-3777-454B-AF57-B8CEF37AFFDA}"/>
              </a:ext>
            </a:extLst>
          </p:cNvPr>
          <p:cNvSpPr/>
          <p:nvPr/>
        </p:nvSpPr>
        <p:spPr>
          <a:xfrm>
            <a:off x="577081" y="1008812"/>
            <a:ext cx="846004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altLang="en-US" sz="1600" b="1" kern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NDARDIZED TOOLS FOR BIOMASS INVESTMENT LOOK LIKE THIS…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9C2AF2D-3333-4876-AF00-65F2C96C16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48278" y="5957000"/>
            <a:ext cx="790575" cy="18859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19D3880-C0D6-4391-AEC0-EC1C265646A4}"/>
              </a:ext>
            </a:extLst>
          </p:cNvPr>
          <p:cNvSpPr txBox="1"/>
          <p:nvPr/>
        </p:nvSpPr>
        <p:spPr>
          <a:xfrm>
            <a:off x="615182" y="4305801"/>
            <a:ext cx="8085829" cy="15462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6000"/>
              </a:lnSpc>
            </a:pPr>
            <a:r>
              <a:rPr lang="en-US" sz="10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“The Biomass Supply Chain Risk Standards are one of the great analytical frameworks that the bio-sector has seen. Before these criteria, there were no rating agency guidelines for how to measure the credibility of feedstock, so investors were left to guess. Now, there’s a quantitative model with qualitative aspects that has transformed bio, and the bioeconomy forever.” </a:t>
            </a:r>
          </a:p>
          <a:p>
            <a:pPr>
              <a:lnSpc>
                <a:spcPct val="106000"/>
              </a:lnSpc>
            </a:pPr>
            <a:endParaRPr lang="en-US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106000"/>
              </a:lnSpc>
            </a:pPr>
            <a:r>
              <a:rPr lang="en-US" sz="1000" b="1" dirty="0">
                <a:solidFill>
                  <a:srgbClr val="0B539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ohn May, Managing Director Renewable Energy Investment, Hamilton Clark; formerly  Co-Head of Stern Brothers &amp; Co Investment Bank’s Renewable Energy Practice, Scaling Up Conference, Oct 2020.</a:t>
            </a:r>
            <a:r>
              <a:rPr lang="en-CA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>
              <a:lnSpc>
                <a:spcPct val="106000"/>
              </a:lnSpc>
            </a:pPr>
            <a:r>
              <a:rPr lang="en-CA" sz="1000" i="1" dirty="0">
                <a:solidFill>
                  <a:srgbClr val="00329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pioneer of the use of bonds for project finance debt in the renewables market with </a:t>
            </a:r>
            <a:r>
              <a:rPr lang="en-US" sz="1000" b="1" i="1" dirty="0">
                <a:solidFill>
                  <a:srgbClr val="0B539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</a:t>
            </a:r>
            <a:r>
              <a:rPr lang="en-CA" sz="1000" i="1" dirty="0">
                <a:solidFill>
                  <a:srgbClr val="00329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$10 billion in loan and par values financed)</a:t>
            </a:r>
            <a:endParaRPr lang="en-US" sz="1000" i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C41245A-1331-4DBD-A530-99D3A8BA60F0}"/>
              </a:ext>
            </a:extLst>
          </p:cNvPr>
          <p:cNvSpPr/>
          <p:nvPr/>
        </p:nvSpPr>
        <p:spPr>
          <a:xfrm>
            <a:off x="6397826" y="4033418"/>
            <a:ext cx="2332754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</a:pPr>
            <a:r>
              <a:rPr lang="en-CA" sz="900" i="1" kern="3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wnload at </a:t>
            </a:r>
            <a:r>
              <a:rPr lang="en-CA" sz="900" i="1" u="sng" kern="3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ecostrat.com/standard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BB1382-ED70-42B6-94F7-CE05021E91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73603" y="1506425"/>
            <a:ext cx="1981200" cy="257280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671CFC1-8B0C-8E4E-B710-722A3582646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1803" y="5908557"/>
            <a:ext cx="974498" cy="968992"/>
          </a:xfrm>
          <a:prstGeom prst="rect">
            <a:avLst/>
          </a:prstGeom>
        </p:spPr>
      </p:pic>
      <p:pic>
        <p:nvPicPr>
          <p:cNvPr id="11" name="Audio 10">
            <a:hlinkClick r:id="" action="ppaction://media"/>
            <a:extLst>
              <a:ext uri="{FF2B5EF4-FFF2-40B4-BE49-F238E27FC236}">
                <a16:creationId xmlns:a16="http://schemas.microsoft.com/office/drawing/2014/main" id="{C6F1135C-1C04-6344-8A1B-BB93297667EB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8178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3066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55361"/>
    </mc:Choice>
    <mc:Fallback>
      <p:transition spd="slow" advTm="5536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C54BAAA-0355-4DE0-A372-388841462951}"/>
              </a:ext>
            </a:extLst>
          </p:cNvPr>
          <p:cNvCxnSpPr>
            <a:cxnSpLocks/>
          </p:cNvCxnSpPr>
          <p:nvPr/>
        </p:nvCxnSpPr>
        <p:spPr>
          <a:xfrm>
            <a:off x="10134600" y="4419600"/>
            <a:ext cx="0" cy="42672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5449F71D-D673-4114-A629-56CAEA3619E4}"/>
              </a:ext>
            </a:extLst>
          </p:cNvPr>
          <p:cNvSpPr txBox="1">
            <a:spLocks/>
          </p:cNvSpPr>
          <p:nvPr/>
        </p:nvSpPr>
        <p:spPr bwMode="auto">
          <a:xfrm>
            <a:off x="838200" y="599564"/>
            <a:ext cx="8231738" cy="6989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9pPr>
          </a:lstStyle>
          <a:p>
            <a:pPr>
              <a:defRPr/>
            </a:pPr>
            <a:r>
              <a:rPr lang="en-US" altLang="en-US" sz="1600" b="1" kern="0" dirty="0"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STEP-CHANGE IN THE STATE OF THE SCIENCE FOR BIO-BASED INVESTOR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9DB8F3-A686-45D5-8376-761FEF4CE9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8960" y="1407850"/>
            <a:ext cx="5439827" cy="444109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827C4131-714B-4F88-A680-ED850D506D8A}"/>
              </a:ext>
            </a:extLst>
          </p:cNvPr>
          <p:cNvSpPr/>
          <p:nvPr/>
        </p:nvSpPr>
        <p:spPr>
          <a:xfrm>
            <a:off x="5509864" y="1407850"/>
            <a:ext cx="3352796" cy="367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endParaRPr lang="en-CA" sz="16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BSCR Standards are the most rigorous framework devised to date for accurately rating feedstock risk for investors.</a:t>
            </a:r>
          </a:p>
          <a:p>
            <a:pPr>
              <a:spcBef>
                <a:spcPts val="600"/>
              </a:spcBef>
            </a:pPr>
            <a:r>
              <a:rPr lang="en-CA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 Categories, 28 Risk Factors, 126 Risk Indicators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CA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CA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porting Requirements, Guidance &amp; Best Practices</a:t>
            </a:r>
            <a:r>
              <a:rPr lang="en-CA" sz="16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lang="en-CA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FBEB66F-11AF-4760-95F9-4237780F24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28938" y="5638800"/>
            <a:ext cx="941000" cy="26800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A9E12E3-BB1F-4FBC-B9B8-84459636B633}"/>
              </a:ext>
            </a:extLst>
          </p:cNvPr>
          <p:cNvSpPr/>
          <p:nvPr/>
        </p:nvSpPr>
        <p:spPr>
          <a:xfrm>
            <a:off x="5948080" y="5295749"/>
            <a:ext cx="2914580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</a:pPr>
            <a:r>
              <a:rPr lang="en-CA" sz="1000" i="1" kern="3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wnload the complete BSCR Standards: </a:t>
            </a:r>
          </a:p>
          <a:p>
            <a:pPr>
              <a:spcBef>
                <a:spcPts val="600"/>
              </a:spcBef>
            </a:pPr>
            <a:r>
              <a:rPr lang="en-CA" sz="1000" i="1" u="sng" kern="3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ww.ecostrat.com/standard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2A92C6E-DB0C-2B4B-BBCE-A5B507743AA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1803" y="5908557"/>
            <a:ext cx="974498" cy="968992"/>
          </a:xfrm>
          <a:prstGeom prst="rect">
            <a:avLst/>
          </a:prstGeom>
        </p:spPr>
      </p:pic>
      <p:pic>
        <p:nvPicPr>
          <p:cNvPr id="10" name="Audio 9">
            <a:hlinkClick r:id="" action="ppaction://media"/>
            <a:extLst>
              <a:ext uri="{FF2B5EF4-FFF2-40B4-BE49-F238E27FC236}">
                <a16:creationId xmlns:a16="http://schemas.microsoft.com/office/drawing/2014/main" id="{45BE9CFF-51E0-504A-BE34-7785E9C34B1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8178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9548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1863"/>
    </mc:Choice>
    <mc:Fallback>
      <p:transition spd="slow" advTm="3186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0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A3AE322-560D-40E0-AD9F-B191EAACEE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5801" y="1151906"/>
            <a:ext cx="4295067" cy="304574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endParaRPr lang="en-CA" sz="15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ClrTx/>
              <a:buSzPct val="100000"/>
            </a:pPr>
            <a:r>
              <a:rPr lang="en-CA" sz="1600" dirty="0">
                <a:ea typeface="Verdana" panose="020B0604030504040204" pitchFamily="34" charset="0"/>
                <a:cs typeface="Verdana" panose="020B0604030504040204" pitchFamily="34" charset="0"/>
              </a:rPr>
              <a:t>In order to finance bio-economy projects, lenders and equity participants are looking for credit worthy counterparts to provide long term feedstock security. </a:t>
            </a:r>
            <a:r>
              <a:rPr lang="en-US" sz="1600" dirty="0">
                <a:ea typeface="Verdana" panose="020B0604030504040204" pitchFamily="34" charset="0"/>
                <a:cs typeface="Verdana" panose="020B0604030504040204" pitchFamily="34" charset="0"/>
              </a:rPr>
              <a:t>But biomass suppliers are often small and almost never investment grade. Traditional balance sheet financing is challenging. </a:t>
            </a:r>
          </a:p>
          <a:p>
            <a:pPr>
              <a:buClrTx/>
              <a:buSzPct val="100000"/>
              <a:buFont typeface="Wingdings" panose="05000000000000000000" pitchFamily="2" charset="2"/>
              <a:buChar char="Ø"/>
            </a:pPr>
            <a:endParaRPr lang="en-US" sz="16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ClrTx/>
              <a:buSzPct val="100000"/>
            </a:pPr>
            <a:r>
              <a:rPr lang="en-US" sz="1600" dirty="0">
                <a:ea typeface="Verdana" panose="020B0604030504040204" pitchFamily="34" charset="0"/>
                <a:cs typeface="Verdana" panose="020B0604030504040204" pitchFamily="34" charset="0"/>
              </a:rPr>
              <a:t>Biomass feedstock risk can be complex. Investors are often confused. Pools of deployable capital to bio-economy projects are limited.  Sector investment is   slow and expensive.</a:t>
            </a:r>
          </a:p>
          <a:p>
            <a:pPr>
              <a:buClrTx/>
              <a:buSzPct val="100000"/>
              <a:buFont typeface="Wingdings" panose="05000000000000000000" pitchFamily="2" charset="2"/>
              <a:buChar char="Ø"/>
            </a:pPr>
            <a:endParaRPr lang="en-US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buClrTx/>
              <a:buSzPct val="100000"/>
              <a:buFont typeface="Wingdings" panose="05000000000000000000" pitchFamily="2" charset="2"/>
              <a:buChar char="Ø"/>
            </a:pPr>
            <a:endParaRPr lang="en-US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buClrTx/>
              <a:buSzPct val="100000"/>
              <a:buFont typeface="Wingdings" panose="05000000000000000000" pitchFamily="2" charset="2"/>
              <a:buChar char="Ø"/>
            </a:pPr>
            <a:endParaRPr lang="en-US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buClrTx/>
              <a:buSzPct val="100000"/>
              <a:buFont typeface="Wingdings" panose="05000000000000000000" pitchFamily="2" charset="2"/>
              <a:buChar char="Ø"/>
            </a:pPr>
            <a:endParaRPr lang="en-US" sz="1350" dirty="0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F4CD8A85-CC37-4FD6-B65E-0351A0153E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4409" y="1652820"/>
            <a:ext cx="3647987" cy="228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56B5350A-E3D2-412C-BEA6-53B7D6E0E08F}"/>
              </a:ext>
            </a:extLst>
          </p:cNvPr>
          <p:cNvSpPr txBox="1">
            <a:spLocks/>
          </p:cNvSpPr>
          <p:nvPr/>
        </p:nvSpPr>
        <p:spPr bwMode="auto">
          <a:xfrm>
            <a:off x="260185" y="273249"/>
            <a:ext cx="8501366" cy="994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9pPr>
          </a:lstStyle>
          <a:p>
            <a:r>
              <a:rPr lang="en-CA" sz="1600" b="1" kern="0" dirty="0"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CK OF STANDARDIZED INVESTOR TOOLS TO MEASURE BIOMASS FEEDSTOCK RISK IS A KEY INVESTMENT BARRI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A265BC8-3E6D-44C2-8E69-413DB585300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54228" y="5905804"/>
            <a:ext cx="790575" cy="18859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0C99072-DB7D-4461-9014-F341A2410432}"/>
              </a:ext>
            </a:extLst>
          </p:cNvPr>
          <p:cNvSpPr txBox="1">
            <a:spLocks/>
          </p:cNvSpPr>
          <p:nvPr/>
        </p:nvSpPr>
        <p:spPr bwMode="auto">
          <a:xfrm>
            <a:off x="505002" y="4968328"/>
            <a:ext cx="8658814" cy="10880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9pPr>
          </a:lstStyle>
          <a:p>
            <a:pPr algn="l"/>
            <a:r>
              <a:rPr lang="en-CA" sz="1600" i="1" kern="0" dirty="0">
                <a:solidFill>
                  <a:srgbClr val="002060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The BSCR Standards enable capital to properly structure around feedstock risk and drive lower cost capital into the bio-economy</a:t>
            </a:r>
            <a:endParaRPr lang="en-CA" sz="1600" i="1" u="sng" kern="0" dirty="0">
              <a:solidFill>
                <a:srgbClr val="002060"/>
              </a:solidFill>
              <a:effectLst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772FB20-092B-4ACD-A7DD-3B540A15E439}"/>
              </a:ext>
            </a:extLst>
          </p:cNvPr>
          <p:cNvSpPr/>
          <p:nvPr/>
        </p:nvSpPr>
        <p:spPr>
          <a:xfrm>
            <a:off x="117308" y="3780908"/>
            <a:ext cx="8467870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Tx/>
              <a:buSzPct val="100000"/>
            </a:pPr>
            <a:endParaRPr lang="en-CA" sz="1200" dirty="0"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marL="171450" indent="-171450">
              <a:buSzPct val="100000"/>
              <a:buFont typeface="Wingdings" panose="05000000000000000000" pitchFamily="2" charset="2"/>
              <a:buChar char="Ø"/>
            </a:pPr>
            <a:endParaRPr lang="en-US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58775" indent="-358775"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fficient, low-cost capital requires new tools that help investors simplify decision-making and de-risk investment</a:t>
            </a:r>
            <a:r>
              <a:rPr lang="en-US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  <a:r>
              <a:rPr lang="en-CA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lack of these tools is a significant barrier to investment into sector development and has dampened the effectiveness of government policy in the sector.  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9F9DF19-DA06-F94A-8C65-EC49733AC5C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1803" y="5908557"/>
            <a:ext cx="974498" cy="968992"/>
          </a:xfrm>
          <a:prstGeom prst="rect">
            <a:avLst/>
          </a:prstGeom>
        </p:spPr>
      </p:pic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AC60D77-21CB-6542-AC77-754B682F15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2080186"/>
              </p:ext>
            </p:extLst>
          </p:nvPr>
        </p:nvGraphicFramePr>
        <p:xfrm>
          <a:off x="12177684" y="3543139"/>
          <a:ext cx="208280" cy="640080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:a16="http://schemas.microsoft.com/office/drawing/2014/main" val="405807200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4875557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8781949"/>
                  </a:ext>
                </a:extLst>
              </a:tr>
            </a:tbl>
          </a:graphicData>
        </a:graphic>
      </p:graphicFrame>
      <p:pic>
        <p:nvPicPr>
          <p:cNvPr id="12" name="Audio 11">
            <a:hlinkClick r:id="" action="ppaction://media"/>
            <a:extLst>
              <a:ext uri="{FF2B5EF4-FFF2-40B4-BE49-F238E27FC236}">
                <a16:creationId xmlns:a16="http://schemas.microsoft.com/office/drawing/2014/main" id="{0F4A5579-DC3F-F44D-97CB-5D381A775C95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8178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32140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0053"/>
    </mc:Choice>
    <mc:Fallback>
      <p:transition spd="slow" advTm="3005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2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E0778C2-148C-459B-BCC0-FF7C760571F7}"/>
              </a:ext>
            </a:extLst>
          </p:cNvPr>
          <p:cNvSpPr/>
          <p:nvPr/>
        </p:nvSpPr>
        <p:spPr>
          <a:xfrm>
            <a:off x="5522526" y="1575372"/>
            <a:ext cx="3240473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6" indent="-285756"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vestors are looking for better tools to lower investment risk.</a:t>
            </a:r>
          </a:p>
          <a:p>
            <a:pPr marL="285756" indent="-285756">
              <a:buFont typeface="Arial" panose="020B0604020202020204" pitchFamily="34" charset="0"/>
              <a:buChar char="•"/>
            </a:pPr>
            <a:endParaRPr lang="en-CA" sz="14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6" indent="-285756"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ey capital market players support a ratings system that signals low feedstock risk. </a:t>
            </a:r>
          </a:p>
          <a:p>
            <a:pPr marL="285756" indent="-285756">
              <a:buFont typeface="Arial" panose="020B0604020202020204" pitchFamily="34" charset="0"/>
              <a:buChar char="•"/>
            </a:pPr>
            <a:endParaRPr lang="en-CA" sz="1000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6" indent="-285756"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5 BSCR Review Committee members. &gt;$60B of deployable capital </a:t>
            </a:r>
          </a:p>
          <a:p>
            <a:endParaRPr lang="en-CA" sz="1000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4A17BC7-6CEA-485A-8866-D79C774D56D5}"/>
              </a:ext>
            </a:extLst>
          </p:cNvPr>
          <p:cNvSpPr txBox="1">
            <a:spLocks/>
          </p:cNvSpPr>
          <p:nvPr/>
        </p:nvSpPr>
        <p:spPr bwMode="auto">
          <a:xfrm>
            <a:off x="0" y="690319"/>
            <a:ext cx="8812526" cy="8850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defRPr>
            </a:lvl9pPr>
          </a:lstStyle>
          <a:p>
            <a:r>
              <a:rPr lang="en-CA" sz="1600" b="1" kern="0" dirty="0"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PITAL MARKETS SUPPORT THE DEVEOPMENT OF BIOMASS  RISK RATINGS</a:t>
            </a:r>
          </a:p>
          <a:p>
            <a:pPr algn="r"/>
            <a:endParaRPr lang="en-CA" sz="1400" b="1" kern="0" dirty="0">
              <a:solidFill>
                <a:schemeClr val="tx1"/>
              </a:solidFill>
              <a:effectLst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r"/>
            <a:endParaRPr lang="en-CA" sz="2400" kern="0" dirty="0">
              <a:solidFill>
                <a:schemeClr val="tx1"/>
              </a:solidFill>
              <a:effectLst/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en-CA" sz="2000" kern="0" dirty="0">
                <a:solidFill>
                  <a:schemeClr val="tx1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The BSCR Risk Ratings Review Committee </a:t>
            </a:r>
            <a:endParaRPr lang="en-CA" sz="2000" i="1" u="sng" kern="0" dirty="0">
              <a:solidFill>
                <a:schemeClr val="tx1"/>
              </a:solidFill>
              <a:effectLst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F9CCEDA-6A98-4F40-A1C8-0C79962269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23666" y="5905804"/>
            <a:ext cx="790575" cy="188592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B79A219-5B7B-401D-8052-5403534BE2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016" y="1868690"/>
            <a:ext cx="5286510" cy="1862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06EE21C-80A3-42E4-98E6-5E54245BB4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1415" y="3921123"/>
            <a:ext cx="7307784" cy="154109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493A45A-FFA9-4D0D-9284-C812A6C6EFE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69199" y="4114800"/>
            <a:ext cx="508934" cy="4586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C7B3274-C0B7-4F03-ADCC-5AED87AFBEE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69199" y="5071688"/>
            <a:ext cx="803402" cy="41213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84C0665-D836-4ED0-80A8-76F0541A1FA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69200" y="4616477"/>
            <a:ext cx="477209" cy="4121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29E8312-3A88-4568-B77C-D0A98E77CB3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581400" y="5087966"/>
            <a:ext cx="1066800" cy="39585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F1A87F8-386B-40A7-B1DC-AB05119D934C}"/>
              </a:ext>
            </a:extLst>
          </p:cNvPr>
          <p:cNvSpPr txBox="1"/>
          <p:nvPr/>
        </p:nvSpPr>
        <p:spPr>
          <a:xfrm>
            <a:off x="2182069" y="5618180"/>
            <a:ext cx="499849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i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e all 65 members: ecostrat.com/standards/participants</a:t>
            </a:r>
            <a:endParaRPr lang="en-CA" i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E54842C-670A-9C43-AFB2-3A27070B825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1803" y="5908557"/>
            <a:ext cx="974498" cy="968992"/>
          </a:xfrm>
          <a:prstGeom prst="rect">
            <a:avLst/>
          </a:prstGeom>
        </p:spPr>
      </p:pic>
      <p:pic>
        <p:nvPicPr>
          <p:cNvPr id="14" name="Audio 13">
            <a:hlinkClick r:id="" action="ppaction://media"/>
            <a:extLst>
              <a:ext uri="{FF2B5EF4-FFF2-40B4-BE49-F238E27FC236}">
                <a16:creationId xmlns:a16="http://schemas.microsoft.com/office/drawing/2014/main" id="{492027BD-ADAB-D847-A576-04094C7255D3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3"/>
          <a:stretch>
            <a:fillRect/>
          </a:stretch>
        </p:blipFill>
        <p:spPr>
          <a:xfrm>
            <a:off x="8178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5628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8819"/>
    </mc:Choice>
    <mc:Fallback>
      <p:transition spd="slow" advTm="1881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4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8C6AFE-84F9-4457-BC72-B781C23BB2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1733576"/>
            <a:ext cx="8443700" cy="3981424"/>
          </a:xfrm>
        </p:spPr>
        <p:txBody>
          <a:bodyPr>
            <a:normAutofit fontScale="25000" lnSpcReduction="20000"/>
          </a:bodyPr>
          <a:lstStyle/>
          <a:p>
            <a:pPr>
              <a:lnSpc>
                <a:spcPct val="120000"/>
              </a:lnSpc>
              <a:spcBef>
                <a:spcPts val="450"/>
              </a:spcBef>
              <a:buFont typeface="Wingdings" panose="05000000000000000000" pitchFamily="2" charset="2"/>
              <a:buChar char="ü"/>
            </a:pPr>
            <a:endParaRPr lang="en-CA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100"/>
              </a:spcAft>
              <a:buClr>
                <a:srgbClr val="00487E"/>
              </a:buClr>
              <a:buSzPct val="100000"/>
              <a:buFont typeface="Wingdings" panose="05000000000000000000" pitchFamily="2" charset="2"/>
              <a:buChar char="ü"/>
            </a:pPr>
            <a:r>
              <a:rPr lang="en-CA" sz="6400" dirty="0">
                <a:latin typeface="Calibri" panose="020F0502020204030204" pitchFamily="34" charset="0"/>
                <a:cs typeface="Calibri" panose="020F0502020204030204" pitchFamily="34" charset="0"/>
              </a:rPr>
              <a:t>BSCR Ratings </a:t>
            </a:r>
            <a:r>
              <a:rPr lang="en-CA" sz="6400" b="1" i="1" dirty="0">
                <a:solidFill>
                  <a:srgbClr val="00487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move a significant chunk of the perceived uncertainty </a:t>
            </a:r>
            <a:r>
              <a:rPr lang="en-CA" sz="6400" dirty="0">
                <a:latin typeface="Calibri" panose="020F0502020204030204" pitchFamily="34" charset="0"/>
                <a:cs typeface="Calibri" panose="020F0502020204030204" pitchFamily="34" charset="0"/>
              </a:rPr>
              <a:t>out of investor lending decisions, and reduce time and transaction costs.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100"/>
              </a:spcAft>
              <a:buClr>
                <a:srgbClr val="00487E"/>
              </a:buClr>
              <a:buSzPct val="100000"/>
              <a:buFont typeface="Wingdings" panose="05000000000000000000" pitchFamily="2" charset="2"/>
              <a:buChar char="ü"/>
            </a:pPr>
            <a:endParaRPr lang="en-CA" sz="6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100"/>
              </a:spcAft>
              <a:buClr>
                <a:srgbClr val="00487E"/>
              </a:buClr>
              <a:buSzPct val="100000"/>
              <a:buFont typeface="Wingdings" panose="05000000000000000000" pitchFamily="2" charset="2"/>
              <a:buChar char="ü"/>
            </a:pPr>
            <a:r>
              <a:rPr lang="en-CA" sz="6400" dirty="0">
                <a:latin typeface="Calibri" panose="020F0502020204030204" pitchFamily="34" charset="0"/>
                <a:cs typeface="Calibri" panose="020F0502020204030204" pitchFamily="34" charset="0"/>
              </a:rPr>
              <a:t>Provide greater confidence to lenders, and consequently </a:t>
            </a:r>
            <a:r>
              <a:rPr lang="en-CA" sz="6400" b="1" i="1" dirty="0">
                <a:solidFill>
                  <a:srgbClr val="00487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roaden the range and lower the cost of financial resources available to biomass projects</a:t>
            </a:r>
            <a:r>
              <a:rPr lang="en-CA" sz="6400" dirty="0">
                <a:latin typeface="Calibri" panose="020F0502020204030204" pitchFamily="34" charset="0"/>
                <a:cs typeface="Calibri" panose="020F0502020204030204" pitchFamily="34" charset="0"/>
              </a:rPr>
              <a:t>. As is the case for credit ratings, use BSCR rating can an effective negotiating tool for biomass project developers to access cheaper credit facilities.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100"/>
              </a:spcAft>
              <a:buClr>
                <a:srgbClr val="00487E"/>
              </a:buClr>
              <a:buSzPct val="100000"/>
              <a:buFont typeface="Wingdings" panose="05000000000000000000" pitchFamily="2" charset="2"/>
              <a:buChar char="ü"/>
            </a:pPr>
            <a:endParaRPr lang="en-CA" sz="6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100"/>
              </a:spcAft>
              <a:buClr>
                <a:srgbClr val="00487E"/>
              </a:buClr>
              <a:buSzPct val="100000"/>
              <a:buFont typeface="Wingdings" panose="05000000000000000000" pitchFamily="2" charset="2"/>
              <a:buChar char="ü"/>
            </a:pPr>
            <a:r>
              <a:rPr lang="en-CA" sz="6400" b="1" i="1" dirty="0">
                <a:solidFill>
                  <a:srgbClr val="00487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able capital to </a:t>
            </a:r>
            <a:r>
              <a:rPr lang="en-CA" sz="6400" b="1" i="1" dirty="0" err="1">
                <a:solidFill>
                  <a:srgbClr val="00487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perly</a:t>
            </a:r>
            <a:r>
              <a:rPr lang="en-CA" sz="6400" b="1" i="1" dirty="0">
                <a:solidFill>
                  <a:srgbClr val="00487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tructure around feedstock risk; help avoid investment in projects that can fail</a:t>
            </a:r>
            <a:r>
              <a:rPr lang="en-CA" sz="6400" dirty="0">
                <a:latin typeface="Calibri" panose="020F0502020204030204" pitchFamily="34" charset="0"/>
                <a:cs typeface="Calibri" panose="020F0502020204030204" pitchFamily="34" charset="0"/>
              </a:rPr>
              <a:t>; create projects that are more resilient.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100"/>
              </a:spcAft>
              <a:buClr>
                <a:srgbClr val="00487E"/>
              </a:buClr>
              <a:buSzPct val="100000"/>
              <a:buFont typeface="Wingdings" panose="05000000000000000000" pitchFamily="2" charset="2"/>
              <a:buChar char="ü"/>
            </a:pPr>
            <a:endParaRPr lang="en-CA" sz="6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100"/>
              </a:spcAft>
              <a:buClr>
                <a:srgbClr val="00487E"/>
              </a:buClr>
              <a:buSzPct val="100000"/>
              <a:buFont typeface="Wingdings" panose="05000000000000000000" pitchFamily="2" charset="2"/>
              <a:buChar char="ü"/>
            </a:pPr>
            <a:r>
              <a:rPr lang="en-CA" sz="6400" b="1" i="1" dirty="0">
                <a:solidFill>
                  <a:srgbClr val="00487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able government to accurately calibrate suitable levels of support </a:t>
            </a:r>
            <a:r>
              <a:rPr lang="en-CA" sz="6400" dirty="0">
                <a:latin typeface="Calibri" panose="020F0502020204030204" pitchFamily="34" charset="0"/>
                <a:cs typeface="Calibri" panose="020F0502020204030204" pitchFamily="34" charset="0"/>
              </a:rPr>
              <a:t>given  project risk. </a:t>
            </a:r>
          </a:p>
          <a:p>
            <a:pPr marL="257181" indent="-257181">
              <a:lnSpc>
                <a:spcPct val="120000"/>
              </a:lnSpc>
              <a:spcBef>
                <a:spcPts val="0"/>
              </a:spcBef>
              <a:spcAft>
                <a:spcPts val="100"/>
              </a:spcAft>
              <a:buClr>
                <a:srgbClr val="00487E"/>
              </a:buClr>
              <a:buSzPct val="100000"/>
              <a:buFont typeface="+mj-lt"/>
              <a:buAutoNum type="arabicPeriod"/>
            </a:pPr>
            <a:endParaRPr lang="en-CA" dirty="0">
              <a:effectLst/>
            </a:endParaRPr>
          </a:p>
          <a:p>
            <a:pPr marL="0" indent="0">
              <a:spcBef>
                <a:spcPts val="0"/>
              </a:spcBef>
              <a:spcAft>
                <a:spcPts val="100"/>
              </a:spcAft>
              <a:buNone/>
            </a:pPr>
            <a:endParaRPr lang="en-US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100"/>
              </a:spcAft>
            </a:pPr>
            <a:endParaRPr lang="en-US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450"/>
              </a:spcBef>
            </a:pPr>
            <a:endParaRPr lang="en-US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450"/>
              </a:spcBef>
            </a:pPr>
            <a:endParaRPr lang="en-US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450"/>
              </a:spcBef>
            </a:pPr>
            <a:endParaRPr lang="en-US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450"/>
              </a:spcBef>
            </a:pPr>
            <a:endParaRPr lang="en-US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450"/>
              </a:spcBef>
            </a:pPr>
            <a:endParaRPr lang="en-US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defTabSz="385771">
              <a:buNone/>
            </a:pPr>
            <a:endParaRPr lang="en-CA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E63002A-A5E2-44E4-A918-1292FC445B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81725" y="6030972"/>
            <a:ext cx="790575" cy="18859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4850CE6-1C31-4BA6-A728-C60F4D37509D}"/>
              </a:ext>
            </a:extLst>
          </p:cNvPr>
          <p:cNvSpPr/>
          <p:nvPr/>
        </p:nvSpPr>
        <p:spPr>
          <a:xfrm>
            <a:off x="169541" y="1143001"/>
            <a:ext cx="879632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kern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NEFITS : BIOMASS SUPPLY CHAIN RISK STANDARDS AND RATING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A36D40F-728C-4DBE-90A3-3D76E9200C8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822938"/>
            <a:ext cx="9144000" cy="389206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23F3A4E-0DB4-E54A-8370-9B730B0C409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1803" y="5908557"/>
            <a:ext cx="974498" cy="968992"/>
          </a:xfrm>
          <a:prstGeom prst="rect">
            <a:avLst/>
          </a:prstGeom>
        </p:spPr>
      </p:pic>
      <p:pic>
        <p:nvPicPr>
          <p:cNvPr id="9" name="Audio 8">
            <a:hlinkClick r:id="" action="ppaction://media"/>
            <a:extLst>
              <a:ext uri="{FF2B5EF4-FFF2-40B4-BE49-F238E27FC236}">
                <a16:creationId xmlns:a16="http://schemas.microsoft.com/office/drawing/2014/main" id="{5C96EC05-6A46-A94D-BEE7-C7688BBC732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8178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066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5804"/>
    </mc:Choice>
    <mc:Fallback>
      <p:transition spd="slow" advTm="1580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e7e43801cdb2fd97fb1f4e38fa4b2846b4d45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olesale Banking _Template 2011 (2010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000" dirty="0" err="1" smtClean="0">
            <a:latin typeface="Verdana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holesale Banking _Template 2011 (2010)</Template>
  <TotalTime>86154</TotalTime>
  <Words>2945</Words>
  <Application>Microsoft Macintosh PowerPoint</Application>
  <PresentationFormat>On-screen Show (4:3)</PresentationFormat>
  <Paragraphs>317</Paragraphs>
  <Slides>16</Slides>
  <Notes>16</Notes>
  <HiddenSlides>0</HiddenSlides>
  <MMClips>16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8" baseType="lpstr">
      <vt:lpstr>Arial Unicode MS</vt:lpstr>
      <vt:lpstr>Arial</vt:lpstr>
      <vt:lpstr>Calibri</vt:lpstr>
      <vt:lpstr>Calibri Light</vt:lpstr>
      <vt:lpstr>Century Gothic</vt:lpstr>
      <vt:lpstr>Gotham Rounded Book</vt:lpstr>
      <vt:lpstr>Segoe UI Semibold</vt:lpstr>
      <vt:lpstr>Verdana</vt:lpstr>
      <vt:lpstr>Wingdings</vt:lpstr>
      <vt:lpstr>Wingdings 3</vt:lpstr>
      <vt:lpstr>Wholesale Banking _Template 2011 (2010)</vt:lpstr>
      <vt:lpstr>think-cell Slide</vt:lpstr>
      <vt:lpstr>  Financing the Bio-economy:  Key Factors Affecting the Role of Green Bonds and Financial Institutions     </vt:lpstr>
      <vt:lpstr> THREE KEY QUESTIONS </vt:lpstr>
      <vt:lpstr>1. DOES THE BIO-ECONOMY GET ENOUGH ATTENTION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NEED FOR BIOMASS SUPPLY RISK RATINGS IS INCREASING</vt:lpstr>
      <vt:lpstr> 3. DOES THE BIO-ECONOMY OFFER UNIQUE INVESTMENT OPPORTUNITES?</vt:lpstr>
      <vt:lpstr>CORPORATE TRANSFORMATION</vt:lpstr>
      <vt:lpstr>THE ROLE OF BIOMASS IN A CIRCULAR ECONOMY</vt:lpstr>
      <vt:lpstr>POTENTIAL FOR NATURAL CLIMATE SOLUTIONS</vt:lpstr>
      <vt:lpstr>CHALLENGES FOR NATURAL CLIMATE SOLUTIONS</vt:lpstr>
      <vt:lpstr> THREE KEY CONCLUSIONS </vt:lpstr>
    </vt:vector>
  </TitlesOfParts>
  <Company>CIBC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o-Energy:  A Global Assessment</dc:title>
  <dc:creator>Alcobendas, Stephanie</dc:creator>
  <cp:lastModifiedBy>Don Roberts</cp:lastModifiedBy>
  <cp:revision>2111</cp:revision>
  <cp:lastPrinted>2021-04-25T18:34:55Z</cp:lastPrinted>
  <dcterms:created xsi:type="dcterms:W3CDTF">2012-12-01T01:49:18Z</dcterms:created>
  <dcterms:modified xsi:type="dcterms:W3CDTF">2021-04-25T21:37:57Z</dcterms:modified>
</cp:coreProperties>
</file>